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9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26C"/>
    <a:srgbClr val="0E436D"/>
    <a:srgbClr val="356D9B"/>
    <a:srgbClr val="29557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17"/>
    <p:restoredTop sz="94662"/>
  </p:normalViewPr>
  <p:slideViewPr>
    <p:cSldViewPr>
      <p:cViewPr varScale="1">
        <p:scale>
          <a:sx n="62" d="100"/>
          <a:sy n="62" d="100"/>
        </p:scale>
        <p:origin x="-2578" y="-101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n</a:t>
            </a:r>
            <a:r>
              <a:rPr 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g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214514407684098"/>
          <c:y val="0.10510693742927447"/>
          <c:w val="0.36419443603752844"/>
          <c:h val="0.7954750450338394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6000"/>
                      <a:lumMod val="104000"/>
                    </a:schemeClr>
                  </a:gs>
                  <a:gs pos="100000">
                    <a:schemeClr val="accent1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innerShdw blurRad="50800" dist="25400" dir="13500000">
                  <a:srgbClr val="000000">
                    <a:alpha val="55000"/>
                  </a:srgbClr>
                </a:inn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4A4-174B-AF30-B3D2E089D0D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96000"/>
                      <a:lumMod val="104000"/>
                    </a:schemeClr>
                  </a:gs>
                  <a:gs pos="100000">
                    <a:schemeClr val="accent2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innerShdw blurRad="50800" dist="25400" dir="13500000">
                  <a:srgbClr val="000000">
                    <a:alpha val="55000"/>
                  </a:srgbClr>
                </a:inn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4A4-174B-AF30-B3D2E089D0DF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6000"/>
                      <a:lumMod val="104000"/>
                    </a:schemeClr>
                  </a:gs>
                  <a:gs pos="100000">
                    <a:schemeClr val="accent3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innerShdw blurRad="50800" dist="25400" dir="13500000">
                  <a:srgbClr val="000000">
                    <a:alpha val="55000"/>
                  </a:srgbClr>
                </a:inn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ED1-F240-9CE1-D455DE681659}"/>
              </c:ext>
            </c:extLst>
          </c:dPt>
          <c:dPt>
            <c:idx val="3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innerShdw blurRad="50800" dist="25400" dir="13500000">
                  <a:srgbClr val="000000">
                    <a:alpha val="55000"/>
                  </a:srgbClr>
                </a:inn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ED1-F240-9CE1-D455DE681659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tint val="96000"/>
                      <a:lumMod val="104000"/>
                    </a:schemeClr>
                  </a:gs>
                  <a:gs pos="100000">
                    <a:schemeClr val="accent5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innerShdw blurRad="50800" dist="25400" dir="13500000">
                  <a:srgbClr val="000000">
                    <a:alpha val="55000"/>
                  </a:srgbClr>
                </a:inn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ED1-F240-9CE1-D455DE681659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tint val="96000"/>
                      <a:lumMod val="104000"/>
                    </a:schemeClr>
                  </a:gs>
                  <a:gs pos="100000">
                    <a:schemeClr val="accent6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innerShdw blurRad="50800" dist="25400" dir="13500000">
                  <a:srgbClr val="000000">
                    <a:alpha val="55000"/>
                  </a:srgbClr>
                </a:inn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ED1-F240-9CE1-D455DE681659}"/>
              </c:ext>
            </c:extLst>
          </c:dPt>
          <c:dLbls>
            <c:dLbl>
              <c:idx val="0"/>
              <c:layout>
                <c:manualLayout>
                  <c:x val="-1.2418762643559152E-2"/>
                  <c:y val="0.1755710882315335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A4-174B-AF30-B3D2E089D0DF}"/>
                </c:ext>
              </c:extLst>
            </c:dLbl>
            <c:dLbl>
              <c:idx val="1"/>
              <c:layout>
                <c:manualLayout>
                  <c:x val="-5.5554680664916888E-2"/>
                  <c:y val="0.1905807086614173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A4-174B-AF30-B3D2E089D0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Компьютеры, электронная и оптическая продукция</c:v>
                </c:pt>
                <c:pt idx="1">
                  <c:v>Электрическое оборудование</c:v>
                </c:pt>
                <c:pt idx="2">
                  <c:v>Машины и оборудование</c:v>
                </c:pt>
                <c:pt idx="3">
                  <c:v>Автотранспортные средства, трейлеры и полуприцепы</c:v>
                </c:pt>
                <c:pt idx="4">
                  <c:v>Прочие транспортные средства</c:v>
                </c:pt>
                <c:pt idx="5">
                  <c:v>Ремонт и установка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0.7</c:v>
                </c:pt>
                <c:pt idx="1">
                  <c:v>199.8</c:v>
                </c:pt>
                <c:pt idx="2">
                  <c:v>291.2</c:v>
                </c:pt>
                <c:pt idx="3">
                  <c:v>628.70000000000005</c:v>
                </c:pt>
                <c:pt idx="4">
                  <c:v>272.5</c:v>
                </c:pt>
                <c:pt idx="5">
                  <c:v>565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4A4-174B-AF30-B3D2E089D0DF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50201779257394985"/>
          <c:y val="0.15998951022492131"/>
          <c:w val="0.46124719253253477"/>
          <c:h val="0.779255034613648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B64E37-B2CB-4E16-B22C-2D87157AA9C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117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1.xml"/><Relationship Id="rId26" Type="http://schemas.openxmlformats.org/officeDocument/2006/relationships/image" Target="../media/image5.png"/><Relationship Id="rId3" Type="http://schemas.openxmlformats.org/officeDocument/2006/relationships/tags" Target="../tags/tag3.xml"/><Relationship Id="rId21" Type="http://schemas.microsoft.com/office/2007/relationships/hdphoto" Target="../media/hdphoto1.wdp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chart" Target="../charts/char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.png"/><Relationship Id="rId29" Type="http://schemas.openxmlformats.org/officeDocument/2006/relationships/image" Target="../media/image8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microsoft.com/office/2007/relationships/hdphoto" Target="../media/hdphoto2.wdp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png"/><Relationship Id="rId28" Type="http://schemas.openxmlformats.org/officeDocument/2006/relationships/image" Target="../media/image7.png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png"/><Relationship Id="rId27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2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262579" y="1331640"/>
            <a:ext cx="1923407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1 </a:t>
            </a:r>
            <a:r>
              <a:rPr lang="ru-RU" sz="2400" b="1" dirty="0">
                <a:solidFill>
                  <a:srgbClr val="E48312"/>
                </a:solidFill>
                <a:latin typeface="Century Gothic" panose="020B0502020202020204"/>
              </a:rPr>
              <a:t>989</a:t>
            </a:r>
            <a:r>
              <a:rPr kumimoji="0" lang="ru-RU" sz="2400" b="1" i="0" u="none" strike="noStrike" kern="1200" cap="all" spc="0" normalizeH="0" baseline="0" noProof="0" dirty="0">
                <a:ln>
                  <a:noFill/>
                </a:ln>
                <a:solidFill>
                  <a:srgbClr val="9B8357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all" spc="0" normalizeH="0" baseline="0" noProof="0" dirty="0" err="1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bln</a:t>
            </a:r>
            <a:r>
              <a:rPr kumimoji="0" lang="en-US" sz="14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all" spc="0" normalizeH="0" baseline="0" noProof="0" dirty="0" err="1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tg</a:t>
            </a:r>
            <a:r>
              <a:rPr kumimoji="0" lang="ru-RU" sz="14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.</a:t>
            </a:r>
            <a:endParaRPr kumimoji="0" lang="ru-RU" sz="14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181295" y="2273075"/>
            <a:ext cx="1807545" cy="714749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118,5%</a:t>
            </a: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9B8357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all" spc="0" normalizeH="0" baseline="0" noProof="0" dirty="0" err="1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pvi</a:t>
            </a:r>
            <a:endParaRPr kumimoji="0" lang="ru-RU" sz="14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8709" y="3155139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740156" y="959548"/>
            <a:ext cx="487569" cy="449261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2" name="Заголовок 1"/>
          <p:cNvSpPr txBox="1">
            <a:spLocks/>
          </p:cNvSpPr>
          <p:nvPr/>
        </p:nvSpPr>
        <p:spPr>
          <a:xfrm>
            <a:off x="598381" y="499364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export</a:t>
            </a:r>
            <a:endParaRPr kumimoji="0" lang="ru-RU" sz="18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196766" y="497102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import</a:t>
            </a:r>
            <a:endParaRPr kumimoji="0" lang="ru-RU" sz="18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389866" y="3472441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$</a:t>
            </a:r>
            <a:r>
              <a:rPr kumimoji="0" lang="ru-RU" sz="32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1 </a:t>
            </a:r>
            <a:r>
              <a:rPr lang="ru-RU" sz="3200" b="1" dirty="0">
                <a:solidFill>
                  <a:srgbClr val="E48312"/>
                </a:solidFill>
                <a:latin typeface="Century Gothic" panose="020B0502020202020204"/>
              </a:rPr>
              <a:t>475</a:t>
            </a:r>
            <a:r>
              <a:rPr kumimoji="0" lang="ru-RU" sz="32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 </a:t>
            </a:r>
            <a:r>
              <a:rPr kumimoji="0" lang="kk-KZ" sz="12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м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io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.</a:t>
            </a:r>
            <a:endParaRPr kumimoji="0" lang="ru-RU" sz="18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531481" y="3465748"/>
            <a:ext cx="2281895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$</a:t>
            </a:r>
            <a:r>
              <a:rPr kumimoji="0" lang="ru-RU" sz="3200" b="1" i="0" u="none" strike="noStrike" kern="1200" cap="all" spc="0" normalizeH="0" baseline="0" noProof="0" dirty="0">
                <a:ln>
                  <a:noFill/>
                </a:ln>
                <a:solidFill>
                  <a:srgbClr val="E48312"/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13</a:t>
            </a:r>
            <a:r>
              <a:rPr lang="ru-RU" sz="3200" b="1" dirty="0">
                <a:solidFill>
                  <a:srgbClr val="E48312"/>
                </a:solidFill>
                <a:latin typeface="Century Gothic" panose="020B0502020202020204"/>
              </a:rPr>
              <a:t> 187 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MIO.</a:t>
            </a:r>
            <a:endParaRPr kumimoji="0" lang="ru-RU" sz="18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pic>
        <p:nvPicPr>
          <p:cNvPr id="159" name="Рисунок 158"/>
          <p:cNvPicPr>
            <a:picLocks noChangeAspect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0000" b="90000" l="10000" r="900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93457" y="4228483"/>
            <a:ext cx="504446" cy="470170"/>
          </a:xfrm>
          <a:prstGeom prst="rect">
            <a:avLst/>
          </a:prstGeom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712376" y="5868144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4763" y="8747301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>
                <a:solidFill>
                  <a:prstClr val="white"/>
                </a:solidFill>
              </a:rPr>
              <a:t>: +7 (7172) 79 33 90 www.qazindustry.gov.kz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1026" name="Picture 2" descr="Картинки по запросу &quot;пьедестал 1-3 место белый фон png&quot;">
            <a:extLst>
              <a:ext uri="{FF2B5EF4-FFF2-40B4-BE49-F238E27FC236}">
                <a16:creationId xmlns:a16="http://schemas.microsoft.com/office/drawing/2014/main" xmlns="" id="{F2771AAD-7491-463C-90E1-BF57595812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483281" y="4507498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Картинки по запросу &quot;пьедестал 1-3 место белый фон png&quot;">
            <a:extLst>
              <a:ext uri="{FF2B5EF4-FFF2-40B4-BE49-F238E27FC236}">
                <a16:creationId xmlns:a16="http://schemas.microsoft.com/office/drawing/2014/main" xmlns="" id="{2EA6AF33-BC09-4EBF-91B9-20B760E3C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5063604" y="4513090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5D74D543-85C3-46E0-8960-9A2180BD3528}"/>
              </a:ext>
            </a:extLst>
          </p:cNvPr>
          <p:cNvGrpSpPr/>
          <p:nvPr/>
        </p:nvGrpSpPr>
        <p:grpSpPr>
          <a:xfrm>
            <a:off x="2040044" y="3332475"/>
            <a:ext cx="2397068" cy="1772628"/>
            <a:chOff x="460038" y="2301141"/>
            <a:chExt cx="3277730" cy="2315919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:a16="http://schemas.microsoft.com/office/drawing/2014/main" xmlns="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457141" y="2396146"/>
              <a:ext cx="2280627" cy="2220914"/>
            </a:xfrm>
            <a:prstGeom prst="blockArc">
              <a:avLst>
                <a:gd name="adj1" fmla="val 20382810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915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:a16="http://schemas.microsoft.com/office/drawing/2014/main" xmlns="" id="{F24E6880-030E-4447-A562-66DE047119A5}"/>
                </a:ext>
              </a:extLst>
            </p:cNvPr>
            <p:cNvSpPr/>
            <p:nvPr/>
          </p:nvSpPr>
          <p:spPr bwMode="gray">
            <a:xfrm rot="21429041" flipH="1">
              <a:off x="1751162" y="2677181"/>
              <a:ext cx="1595351" cy="1446800"/>
            </a:xfrm>
            <a:prstGeom prst="blockArc">
              <a:avLst>
                <a:gd name="adj1" fmla="val 13163319"/>
                <a:gd name="adj2" fmla="val 15971119"/>
                <a:gd name="adj3" fmla="val 16822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915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:a16="http://schemas.microsoft.com/office/drawing/2014/main" xmlns="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569539" y="3247480"/>
              <a:ext cx="1907629" cy="528481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29155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8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E48312"/>
                  </a:solidFill>
                  <a:effectLst/>
                  <a:uLnTx/>
                  <a:uFillTx/>
                  <a:latin typeface="Century Gothic" panose="020B0502020202020204"/>
                  <a:ea typeface="+mn-ea"/>
                  <a:cs typeface="Arial" panose="020B0604020202020204" pitchFamily="34" charset="0"/>
                </a:rPr>
                <a:t>$</a:t>
              </a:r>
              <a:r>
                <a:rPr lang="ru-RU" sz="3200" b="1" dirty="0">
                  <a:solidFill>
                    <a:srgbClr val="E48312"/>
                  </a:solidFill>
                  <a:latin typeface="Century Gothic" panose="020B0502020202020204"/>
                  <a:cs typeface="Arial" panose="020B0604020202020204" pitchFamily="34" charset="0"/>
                </a:rPr>
                <a:t>15,9</a:t>
              </a: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E48312"/>
                  </a:solidFill>
                  <a:effectLst/>
                  <a:uLnTx/>
                  <a:uFillTx/>
                  <a:latin typeface="Century Gothic" panose="020B0502020202020204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200" b="1" i="0" u="none" strike="noStrike" kern="1200" cap="all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Century Gothic" panose="020B0502020202020204"/>
                  <a:ea typeface="+mn-ea"/>
                  <a:cs typeface="+mn-cs"/>
                </a:rPr>
                <a:t>млрд</a:t>
              </a:r>
              <a:endParaRPr kumimoji="0" lang="de-DE" sz="1800" b="1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:a16="http://schemas.microsoft.com/office/drawing/2014/main" xmlns="" id="{87143035-C289-4E8D-BF7B-0FE8E8610A85}"/>
                </a:ext>
              </a:extLst>
            </p:cNvPr>
            <p:cNvGrpSpPr/>
            <p:nvPr/>
          </p:nvGrpSpPr>
          <p:grpSpPr bwMode="gray">
            <a:xfrm>
              <a:off x="460038" y="2301141"/>
              <a:ext cx="2107189" cy="792898"/>
              <a:chOff x="1172664" y="2021636"/>
              <a:chExt cx="1353100" cy="540869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:a16="http://schemas.microsoft.com/office/drawing/2014/main" xmlns="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72664" y="2288211"/>
                <a:ext cx="1353100" cy="27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915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050" b="1" dirty="0" smtClean="0">
                    <a:solidFill>
                      <a:prstClr val="white">
                        <a:lumMod val="85000"/>
                      </a:prstClr>
                    </a:solidFill>
                    <a:latin typeface="Century Gothic" panose="020B0502020202020204"/>
                    <a:cs typeface="Arial" panose="020B0604020202020204" pitchFamily="34" charset="0"/>
                  </a:rPr>
                  <a:t>EXP</a:t>
                </a: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ru-RU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16,8</a:t>
                </a:r>
                <a:r>
                  <a:rPr kumimoji="0" lang="de-D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%</a:t>
                </a:r>
                <a:endParaRPr kumimoji="0" lang="de-D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Century Gothic" panose="020B0502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:a16="http://schemas.microsoft.com/office/drawing/2014/main" xmlns="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00809" y="2021636"/>
                <a:ext cx="1224955" cy="2742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2915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Import</a:t>
                </a:r>
                <a:r>
                  <a:rPr kumimoji="0" lang="de-DE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  </a:t>
                </a:r>
                <a:r>
                  <a:rPr lang="ru-RU" sz="1400" b="1" dirty="0">
                    <a:solidFill>
                      <a:prstClr val="white">
                        <a:lumMod val="85000"/>
                      </a:prstClr>
                    </a:solidFill>
                    <a:latin typeface="Century Gothic" panose="020B0502020202020204"/>
                    <a:cs typeface="Arial" panose="020B0604020202020204" pitchFamily="34" charset="0"/>
                  </a:rPr>
                  <a:t>83</a:t>
                </a:r>
                <a:r>
                  <a:rPr kumimoji="0" lang="ru-RU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,2</a:t>
                </a:r>
                <a:r>
                  <a:rPr kumimoji="0" lang="de-D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85000"/>
                      </a:prstClr>
                    </a:solidFill>
                    <a:effectLst/>
                    <a:uLnTx/>
                    <a:uFillTx/>
                    <a:latin typeface="Century Gothic" panose="020B0502020202020204"/>
                    <a:ea typeface="+mn-ea"/>
                    <a:cs typeface="Arial" panose="020B0604020202020204" pitchFamily="34" charset="0"/>
                  </a:rPr>
                  <a:t>%</a:t>
                </a:r>
                <a:endParaRPr kumimoji="0" lang="de-D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85000"/>
                    </a:prstClr>
                  </a:solidFill>
                  <a:effectLst/>
                  <a:uLnTx/>
                  <a:uFillTx/>
                  <a:latin typeface="Century Gothic" panose="020B0502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xmlns="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093917" y="5013568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j-ea"/>
                <a:cs typeface="+mj-cs"/>
              </a:rPr>
              <a:t>market</a:t>
            </a:r>
            <a:endParaRPr kumimoji="0" lang="ru-RU" sz="18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j-ea"/>
              <a:cs typeface="+mj-cs"/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314064" y="3301525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509120" y="3326061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F379B309-F190-455B-897F-1DAA77367879}"/>
              </a:ext>
            </a:extLst>
          </p:cNvPr>
          <p:cNvSpPr/>
          <p:nvPr/>
        </p:nvSpPr>
        <p:spPr>
          <a:xfrm>
            <a:off x="2780928" y="5543536"/>
            <a:ext cx="4135925" cy="345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/>
              <a:t>Market, export and import data for 10 </a:t>
            </a:r>
            <a:r>
              <a:rPr lang="en-US" sz="1000" dirty="0" smtClean="0"/>
              <a:t>months </a:t>
            </a:r>
            <a:r>
              <a:rPr lang="en-US" sz="1000" dirty="0"/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xmlns="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674404" y="2113769"/>
            <a:ext cx="539974" cy="367244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xmlns="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220508" y="179512"/>
            <a:ext cx="4470648" cy="73808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MECHANICAL Engineering</a:t>
            </a:r>
            <a:endParaRPr lang="ru-RU" sz="1800" b="1" dirty="0">
              <a:solidFill>
                <a:prstClr val="white"/>
              </a:solidFill>
            </a:endParaRPr>
          </a:p>
          <a:p>
            <a:pPr lvl="0" algn="ctr">
              <a:defRPr/>
            </a:pPr>
            <a:r>
              <a:rPr lang="en-US" sz="1800" b="1" cap="none" dirty="0" smtClean="0">
                <a:solidFill>
                  <a:prstClr val="white"/>
                </a:solidFill>
              </a:rPr>
              <a:t>January-November </a:t>
            </a:r>
            <a:r>
              <a:rPr lang="ru-RU" sz="1800" b="1" cap="none" dirty="0">
                <a:solidFill>
                  <a:prstClr val="white"/>
                </a:solidFill>
              </a:rPr>
              <a:t>202</a:t>
            </a:r>
            <a:r>
              <a:rPr lang="en-US" sz="1800" b="1" cap="none" dirty="0">
                <a:solidFill>
                  <a:prstClr val="white"/>
                </a:solidFill>
              </a:rPr>
              <a:t>1</a:t>
            </a:r>
            <a:endParaRPr lang="ru-RU" sz="1800" b="1" cap="none" dirty="0">
              <a:solidFill>
                <a:prstClr val="white"/>
              </a:solidFill>
            </a:endParaRP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xmlns="" id="{6513E499-4DCF-8445-B592-5882521409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3823873"/>
              </p:ext>
            </p:extLst>
          </p:nvPr>
        </p:nvGraphicFramePr>
        <p:xfrm>
          <a:off x="1909360" y="883172"/>
          <a:ext cx="5022320" cy="22993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pSp>
        <p:nvGrpSpPr>
          <p:cNvPr id="72" name="Группа 71">
            <a:extLst>
              <a:ext uri="{FF2B5EF4-FFF2-40B4-BE49-F238E27FC236}">
                <a16:creationId xmlns:a16="http://schemas.microsoft.com/office/drawing/2014/main" xmlns="" id="{67DCB594-41FE-46E6-9113-A719BD30C60A}"/>
              </a:ext>
            </a:extLst>
          </p:cNvPr>
          <p:cNvGrpSpPr/>
          <p:nvPr/>
        </p:nvGrpSpPr>
        <p:grpSpPr>
          <a:xfrm>
            <a:off x="687822" y="6094818"/>
            <a:ext cx="5470163" cy="2604926"/>
            <a:chOff x="758075" y="6297384"/>
            <a:chExt cx="5562326" cy="3018519"/>
          </a:xfrm>
        </p:grpSpPr>
        <p:grpSp>
          <p:nvGrpSpPr>
            <p:cNvPr id="88" name="Группа 87">
              <a:extLst>
                <a:ext uri="{FF2B5EF4-FFF2-40B4-BE49-F238E27FC236}">
                  <a16:creationId xmlns:a16="http://schemas.microsoft.com/office/drawing/2014/main" xmlns="" id="{12E3C397-2C02-422D-9A3D-D48FF7D896C6}"/>
                </a:ext>
              </a:extLst>
            </p:cNvPr>
            <p:cNvGrpSpPr/>
            <p:nvPr/>
          </p:nvGrpSpPr>
          <p:grpSpPr>
            <a:xfrm>
              <a:off x="758075" y="6297384"/>
              <a:ext cx="5562326" cy="3018519"/>
              <a:chOff x="684188" y="6183884"/>
              <a:chExt cx="5548312" cy="3160710"/>
            </a:xfrm>
          </p:grpSpPr>
          <p:grpSp>
            <p:nvGrpSpPr>
              <p:cNvPr id="91" name="Группа 191">
                <a:extLst>
                  <a:ext uri="{FF2B5EF4-FFF2-40B4-BE49-F238E27FC236}">
                    <a16:creationId xmlns:a16="http://schemas.microsoft.com/office/drawing/2014/main" xmlns="" id="{33B8FF5D-7D3C-436C-A7EE-00C68D83B84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84188" y="6183884"/>
                <a:ext cx="5548312" cy="3160710"/>
                <a:chOff x="-2668021" y="5863897"/>
                <a:chExt cx="5795782" cy="3555145"/>
              </a:xfrm>
            </p:grpSpPr>
            <p:grpSp>
              <p:nvGrpSpPr>
                <p:cNvPr id="93" name="Группа 192">
                  <a:extLst>
                    <a:ext uri="{FF2B5EF4-FFF2-40B4-BE49-F238E27FC236}">
                      <a16:creationId xmlns:a16="http://schemas.microsoft.com/office/drawing/2014/main" xmlns="" id="{BBC7070D-8856-4538-9C23-6D009174CCF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-2668021" y="5863897"/>
                  <a:ext cx="5795782" cy="3555145"/>
                  <a:chOff x="-2668021" y="5863897"/>
                  <a:chExt cx="5795782" cy="3555145"/>
                </a:xfrm>
              </p:grpSpPr>
              <p:grpSp>
                <p:nvGrpSpPr>
                  <p:cNvPr id="97" name="Группа 195">
                    <a:extLst>
                      <a:ext uri="{FF2B5EF4-FFF2-40B4-BE49-F238E27FC236}">
                        <a16:creationId xmlns:a16="http://schemas.microsoft.com/office/drawing/2014/main" xmlns="" id="{F8022253-8908-4773-9DB7-5F9FCD6AECE3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-2668021" y="5863897"/>
                    <a:ext cx="5795782" cy="3555145"/>
                    <a:chOff x="-2668021" y="5863897"/>
                    <a:chExt cx="5795782" cy="3555145"/>
                  </a:xfrm>
                </p:grpSpPr>
                <p:grpSp>
                  <p:nvGrpSpPr>
                    <p:cNvPr id="102" name="Группа 200">
                      <a:extLst>
                        <a:ext uri="{FF2B5EF4-FFF2-40B4-BE49-F238E27FC236}">
                          <a16:creationId xmlns:a16="http://schemas.microsoft.com/office/drawing/2014/main" xmlns="" id="{DB85C817-5368-4841-AF7F-2C4F114982D7}"/>
                        </a:ext>
                      </a:extLst>
                    </p:cNvPr>
                    <p:cNvGrpSpPr>
                      <a:grpSpLocks/>
                    </p:cNvGrpSpPr>
                    <p:nvPr/>
                  </p:nvGrpSpPr>
                  <p:grpSpPr bwMode="auto">
                    <a:xfrm>
                      <a:off x="-2668021" y="5863897"/>
                      <a:ext cx="5795782" cy="3555145"/>
                      <a:chOff x="-2668021" y="5863897"/>
                      <a:chExt cx="5795782" cy="3555145"/>
                    </a:xfrm>
                  </p:grpSpPr>
                  <p:grpSp>
                    <p:nvGrpSpPr>
                      <p:cNvPr id="106" name="Группа 204">
                        <a:extLst>
                          <a:ext uri="{FF2B5EF4-FFF2-40B4-BE49-F238E27FC236}">
                            <a16:creationId xmlns:a16="http://schemas.microsoft.com/office/drawing/2014/main" xmlns="" id="{8B45A802-8C61-48D5-BBDA-FA24E7CEF62B}"/>
                          </a:ext>
                        </a:extLst>
                      </p:cNvPr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-2668021" y="5863897"/>
                        <a:ext cx="5795782" cy="3555145"/>
                        <a:chOff x="350985" y="4036294"/>
                        <a:chExt cx="4089243" cy="2484581"/>
                      </a:xfrm>
                    </p:grpSpPr>
                    <p:grpSp>
                      <p:nvGrpSpPr>
                        <p:cNvPr id="110" name="Группа 208">
                          <a:extLst>
                            <a:ext uri="{FF2B5EF4-FFF2-40B4-BE49-F238E27FC236}">
                              <a16:creationId xmlns:a16="http://schemas.microsoft.com/office/drawing/2014/main" xmlns="" id="{ADEE5BC0-05C9-48EA-9243-7E352AA88904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350985" y="4036294"/>
                          <a:ext cx="4089243" cy="2484581"/>
                          <a:chOff x="415637" y="4257958"/>
                          <a:chExt cx="3619537" cy="2452255"/>
                        </a:xfrm>
                      </p:grpSpPr>
                      <p:grpSp>
                        <p:nvGrpSpPr>
                          <p:cNvPr id="122" name="Group 25">
                            <a:extLst>
                              <a:ext uri="{FF2B5EF4-FFF2-40B4-BE49-F238E27FC236}">
                                <a16:creationId xmlns:a16="http://schemas.microsoft.com/office/drawing/2014/main" xmlns="" id="{CDDE952D-98BA-445F-ADD9-D38E4BFCB010}"/>
                              </a:ext>
                            </a:extLst>
                          </p:cNvPr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415637" y="4257958"/>
                            <a:ext cx="3619537" cy="2452255"/>
                            <a:chOff x="323522" y="1341312"/>
                            <a:chExt cx="8064059" cy="4896000"/>
                          </a:xfrm>
                        </p:grpSpPr>
                        <p:sp>
                          <p:nvSpPr>
                            <p:cNvPr id="126" name="Freeform 43">
                              <a:extLst>
                                <a:ext uri="{FF2B5EF4-FFF2-40B4-BE49-F238E27FC236}">
                                  <a16:creationId xmlns:a16="http://schemas.microsoft.com/office/drawing/2014/main" xmlns="" id="{EBF5AEA1-F40D-4746-B054-BE23880DED8F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908154" y="4439735"/>
                              <a:ext cx="1389003" cy="1229533"/>
                            </a:xfrm>
                            <a:custGeom>
                              <a:avLst/>
                              <a:gdLst/>
                              <a:ahLst/>
                              <a:cxnLst>
                                <a:cxn ang="0">
                                  <a:pos x="6" y="56"/>
                                </a:cxn>
                                <a:cxn ang="0">
                                  <a:pos x="22" y="84"/>
                                </a:cxn>
                                <a:cxn ang="0">
                                  <a:pos x="34" y="123"/>
                                </a:cxn>
                                <a:cxn ang="0">
                                  <a:pos x="56" y="162"/>
                                </a:cxn>
                                <a:cxn ang="0">
                                  <a:pos x="73" y="224"/>
                                </a:cxn>
                                <a:cxn ang="0">
                                  <a:pos x="84" y="269"/>
                                </a:cxn>
                                <a:cxn ang="0">
                                  <a:pos x="95" y="314"/>
                                </a:cxn>
                                <a:cxn ang="0">
                                  <a:pos x="95" y="359"/>
                                </a:cxn>
                                <a:cxn ang="0">
                                  <a:pos x="95" y="409"/>
                                </a:cxn>
                                <a:cxn ang="0">
                                  <a:pos x="78" y="454"/>
                                </a:cxn>
                                <a:cxn ang="0">
                                  <a:pos x="62" y="493"/>
                                </a:cxn>
                                <a:cxn ang="0">
                                  <a:pos x="78" y="515"/>
                                </a:cxn>
                                <a:cxn ang="0">
                                  <a:pos x="106" y="538"/>
                                </a:cxn>
                                <a:cxn ang="0">
                                  <a:pos x="129" y="555"/>
                                </a:cxn>
                                <a:cxn ang="0">
                                  <a:pos x="145" y="577"/>
                                </a:cxn>
                                <a:cxn ang="0">
                                  <a:pos x="157" y="600"/>
                                </a:cxn>
                                <a:cxn ang="0">
                                  <a:pos x="168" y="633"/>
                                </a:cxn>
                                <a:cxn ang="0">
                                  <a:pos x="179" y="667"/>
                                </a:cxn>
                                <a:cxn ang="0">
                                  <a:pos x="196" y="678"/>
                                </a:cxn>
                                <a:cxn ang="0">
                                  <a:pos x="218" y="689"/>
                                </a:cxn>
                                <a:cxn ang="0">
                                  <a:pos x="229" y="695"/>
                                </a:cxn>
                                <a:cxn ang="0">
                                  <a:pos x="241" y="717"/>
                                </a:cxn>
                                <a:cxn ang="0">
                                  <a:pos x="246" y="734"/>
                                </a:cxn>
                                <a:cxn ang="0">
                                  <a:pos x="325" y="555"/>
                                </a:cxn>
                                <a:cxn ang="0">
                                  <a:pos x="631" y="510"/>
                                </a:cxn>
                                <a:cxn ang="0">
                                  <a:pos x="804" y="470"/>
                                </a:cxn>
                                <a:cxn ang="0">
                                  <a:pos x="884" y="521"/>
                                </a:cxn>
                                <a:cxn ang="0">
                                  <a:pos x="884" y="487"/>
                                </a:cxn>
                                <a:cxn ang="0">
                                  <a:pos x="867" y="459"/>
                                </a:cxn>
                                <a:cxn ang="0">
                                  <a:pos x="856" y="437"/>
                                </a:cxn>
                                <a:cxn ang="0">
                                  <a:pos x="845" y="398"/>
                                </a:cxn>
                                <a:cxn ang="0">
                                  <a:pos x="822" y="342"/>
                                </a:cxn>
                                <a:cxn ang="0">
                                  <a:pos x="817" y="319"/>
                                </a:cxn>
                                <a:cxn ang="0">
                                  <a:pos x="794" y="303"/>
                                </a:cxn>
                                <a:cxn ang="0">
                                  <a:pos x="778" y="297"/>
                                </a:cxn>
                                <a:cxn ang="0">
                                  <a:pos x="739" y="286"/>
                                </a:cxn>
                                <a:cxn ang="0">
                                  <a:pos x="694" y="224"/>
                                </a:cxn>
                                <a:cxn ang="0">
                                  <a:pos x="660" y="179"/>
                                </a:cxn>
                                <a:cxn ang="0">
                                  <a:pos x="638" y="146"/>
                                </a:cxn>
                                <a:cxn ang="0">
                                  <a:pos x="627" y="118"/>
                                </a:cxn>
                                <a:cxn ang="0">
                                  <a:pos x="621" y="84"/>
                                </a:cxn>
                                <a:cxn ang="0">
                                  <a:pos x="615" y="50"/>
                                </a:cxn>
                                <a:cxn ang="0">
                                  <a:pos x="615" y="11"/>
                                </a:cxn>
                                <a:cxn ang="0">
                                  <a:pos x="537" y="11"/>
                                </a:cxn>
                                <a:cxn ang="0">
                                  <a:pos x="431" y="22"/>
                                </a:cxn>
                                <a:cxn ang="0">
                                  <a:pos x="313" y="34"/>
                                </a:cxn>
                                <a:cxn ang="0">
                                  <a:pos x="201" y="39"/>
                                </a:cxn>
                                <a:cxn ang="0">
                                  <a:pos x="78" y="39"/>
                                </a:cxn>
                              </a:cxnLst>
                              <a:rect l="0" t="0" r="r" b="b"/>
                              <a:pathLst>
                                <a:path w="884" h="734">
                                  <a:moveTo>
                                    <a:pt x="0" y="39"/>
                                  </a:moveTo>
                                  <a:lnTo>
                                    <a:pt x="0" y="45"/>
                                  </a:lnTo>
                                  <a:lnTo>
                                    <a:pt x="6" y="56"/>
                                  </a:lnTo>
                                  <a:lnTo>
                                    <a:pt x="11" y="62"/>
                                  </a:lnTo>
                                  <a:lnTo>
                                    <a:pt x="17" y="73"/>
                                  </a:lnTo>
                                  <a:lnTo>
                                    <a:pt x="22" y="84"/>
                                  </a:lnTo>
                                  <a:lnTo>
                                    <a:pt x="28" y="101"/>
                                  </a:lnTo>
                                  <a:lnTo>
                                    <a:pt x="34" y="112"/>
                                  </a:lnTo>
                                  <a:lnTo>
                                    <a:pt x="34" y="123"/>
                                  </a:lnTo>
                                  <a:lnTo>
                                    <a:pt x="39" y="140"/>
                                  </a:lnTo>
                                  <a:lnTo>
                                    <a:pt x="50" y="151"/>
                                  </a:lnTo>
                                  <a:lnTo>
                                    <a:pt x="56" y="162"/>
                                  </a:lnTo>
                                  <a:lnTo>
                                    <a:pt x="67" y="196"/>
                                  </a:lnTo>
                                  <a:lnTo>
                                    <a:pt x="67" y="207"/>
                                  </a:lnTo>
                                  <a:lnTo>
                                    <a:pt x="73" y="224"/>
                                  </a:lnTo>
                                  <a:lnTo>
                                    <a:pt x="78" y="241"/>
                                  </a:lnTo>
                                  <a:lnTo>
                                    <a:pt x="78" y="252"/>
                                  </a:lnTo>
                                  <a:lnTo>
                                    <a:pt x="84" y="269"/>
                                  </a:lnTo>
                                  <a:lnTo>
                                    <a:pt x="84" y="286"/>
                                  </a:lnTo>
                                  <a:lnTo>
                                    <a:pt x="95" y="303"/>
                                  </a:lnTo>
                                  <a:lnTo>
                                    <a:pt x="95" y="314"/>
                                  </a:lnTo>
                                  <a:lnTo>
                                    <a:pt x="95" y="331"/>
                                  </a:lnTo>
                                  <a:lnTo>
                                    <a:pt x="95" y="347"/>
                                  </a:lnTo>
                                  <a:lnTo>
                                    <a:pt x="95" y="359"/>
                                  </a:lnTo>
                                  <a:lnTo>
                                    <a:pt x="95" y="381"/>
                                  </a:lnTo>
                                  <a:lnTo>
                                    <a:pt x="95" y="392"/>
                                  </a:lnTo>
                                  <a:lnTo>
                                    <a:pt x="95" y="409"/>
                                  </a:lnTo>
                                  <a:lnTo>
                                    <a:pt x="84" y="426"/>
                                  </a:lnTo>
                                  <a:lnTo>
                                    <a:pt x="84" y="437"/>
                                  </a:lnTo>
                                  <a:lnTo>
                                    <a:pt x="78" y="454"/>
                                  </a:lnTo>
                                  <a:lnTo>
                                    <a:pt x="73" y="465"/>
                                  </a:lnTo>
                                  <a:lnTo>
                                    <a:pt x="73" y="482"/>
                                  </a:lnTo>
                                  <a:lnTo>
                                    <a:pt x="62" y="493"/>
                                  </a:lnTo>
                                  <a:lnTo>
                                    <a:pt x="67" y="499"/>
                                  </a:lnTo>
                                  <a:lnTo>
                                    <a:pt x="73" y="504"/>
                                  </a:lnTo>
                                  <a:lnTo>
                                    <a:pt x="78" y="515"/>
                                  </a:lnTo>
                                  <a:lnTo>
                                    <a:pt x="84" y="521"/>
                                  </a:lnTo>
                                  <a:lnTo>
                                    <a:pt x="95" y="527"/>
                                  </a:lnTo>
                                  <a:lnTo>
                                    <a:pt x="106" y="538"/>
                                  </a:lnTo>
                                  <a:lnTo>
                                    <a:pt x="117" y="543"/>
                                  </a:lnTo>
                                  <a:lnTo>
                                    <a:pt x="123" y="549"/>
                                  </a:lnTo>
                                  <a:lnTo>
                                    <a:pt x="129" y="555"/>
                                  </a:lnTo>
                                  <a:lnTo>
                                    <a:pt x="134" y="566"/>
                                  </a:lnTo>
                                  <a:lnTo>
                                    <a:pt x="145" y="572"/>
                                  </a:lnTo>
                                  <a:lnTo>
                                    <a:pt x="145" y="577"/>
                                  </a:lnTo>
                                  <a:lnTo>
                                    <a:pt x="151" y="583"/>
                                  </a:lnTo>
                                  <a:lnTo>
                                    <a:pt x="151" y="588"/>
                                  </a:lnTo>
                                  <a:lnTo>
                                    <a:pt x="157" y="600"/>
                                  </a:lnTo>
                                  <a:lnTo>
                                    <a:pt x="162" y="616"/>
                                  </a:lnTo>
                                  <a:lnTo>
                                    <a:pt x="162" y="622"/>
                                  </a:lnTo>
                                  <a:lnTo>
                                    <a:pt x="168" y="633"/>
                                  </a:lnTo>
                                  <a:lnTo>
                                    <a:pt x="173" y="644"/>
                                  </a:lnTo>
                                  <a:lnTo>
                                    <a:pt x="173" y="650"/>
                                  </a:lnTo>
                                  <a:lnTo>
                                    <a:pt x="179" y="667"/>
                                  </a:lnTo>
                                  <a:lnTo>
                                    <a:pt x="179" y="672"/>
                                  </a:lnTo>
                                  <a:lnTo>
                                    <a:pt x="190" y="672"/>
                                  </a:lnTo>
                                  <a:lnTo>
                                    <a:pt x="196" y="678"/>
                                  </a:lnTo>
                                  <a:lnTo>
                                    <a:pt x="201" y="678"/>
                                  </a:lnTo>
                                  <a:lnTo>
                                    <a:pt x="207" y="684"/>
                                  </a:lnTo>
                                  <a:lnTo>
                                    <a:pt x="218" y="689"/>
                                  </a:lnTo>
                                  <a:lnTo>
                                    <a:pt x="224" y="689"/>
                                  </a:lnTo>
                                  <a:lnTo>
                                    <a:pt x="224" y="695"/>
                                  </a:lnTo>
                                  <a:lnTo>
                                    <a:pt x="229" y="695"/>
                                  </a:lnTo>
                                  <a:lnTo>
                                    <a:pt x="229" y="706"/>
                                  </a:lnTo>
                                  <a:lnTo>
                                    <a:pt x="241" y="712"/>
                                  </a:lnTo>
                                  <a:lnTo>
                                    <a:pt x="241" y="717"/>
                                  </a:lnTo>
                                  <a:lnTo>
                                    <a:pt x="246" y="723"/>
                                  </a:lnTo>
                                  <a:lnTo>
                                    <a:pt x="246" y="728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52" y="734"/>
                                  </a:lnTo>
                                  <a:cubicBezTo>
                                    <a:pt x="265" y="704"/>
                                    <a:pt x="206" y="594"/>
                                    <a:pt x="325" y="555"/>
                                  </a:cubicBezTo>
                                  <a:cubicBezTo>
                                    <a:pt x="444" y="516"/>
                                    <a:pt x="541" y="650"/>
                                    <a:pt x="593" y="628"/>
                                  </a:cubicBezTo>
                                  <a:cubicBezTo>
                                    <a:pt x="643" y="630"/>
                                    <a:pt x="619" y="588"/>
                                    <a:pt x="625" y="568"/>
                                  </a:cubicBezTo>
                                  <a:cubicBezTo>
                                    <a:pt x="631" y="548"/>
                                    <a:pt x="620" y="531"/>
                                    <a:pt x="631" y="510"/>
                                  </a:cubicBezTo>
                                  <a:cubicBezTo>
                                    <a:pt x="642" y="489"/>
                                    <a:pt x="672" y="457"/>
                                    <a:pt x="692" y="445"/>
                                  </a:cubicBezTo>
                                  <a:cubicBezTo>
                                    <a:pt x="712" y="433"/>
                                    <a:pt x="722" y="426"/>
                                    <a:pt x="754" y="440"/>
                                  </a:cubicBezTo>
                                  <a:cubicBezTo>
                                    <a:pt x="773" y="444"/>
                                    <a:pt x="782" y="455"/>
                                    <a:pt x="804" y="470"/>
                                  </a:cubicBezTo>
                                  <a:cubicBezTo>
                                    <a:pt x="826" y="485"/>
                                    <a:pt x="871" y="517"/>
                                    <a:pt x="884" y="527"/>
                                  </a:cubicBezTo>
                                  <a:lnTo>
                                    <a:pt x="884" y="527"/>
                                  </a:lnTo>
                                  <a:lnTo>
                                    <a:pt x="884" y="521"/>
                                  </a:lnTo>
                                  <a:lnTo>
                                    <a:pt x="884" y="504"/>
                                  </a:lnTo>
                                  <a:lnTo>
                                    <a:pt x="884" y="493"/>
                                  </a:lnTo>
                                  <a:lnTo>
                                    <a:pt x="884" y="487"/>
                                  </a:lnTo>
                                  <a:lnTo>
                                    <a:pt x="878" y="482"/>
                                  </a:lnTo>
                                  <a:lnTo>
                                    <a:pt x="873" y="465"/>
                                  </a:lnTo>
                                  <a:lnTo>
                                    <a:pt x="867" y="459"/>
                                  </a:lnTo>
                                  <a:lnTo>
                                    <a:pt x="867" y="454"/>
                                  </a:lnTo>
                                  <a:lnTo>
                                    <a:pt x="862" y="448"/>
                                  </a:lnTo>
                                  <a:lnTo>
                                    <a:pt x="856" y="437"/>
                                  </a:lnTo>
                                  <a:lnTo>
                                    <a:pt x="856" y="431"/>
                                  </a:lnTo>
                                  <a:lnTo>
                                    <a:pt x="850" y="415"/>
                                  </a:lnTo>
                                  <a:lnTo>
                                    <a:pt x="845" y="398"/>
                                  </a:lnTo>
                                  <a:lnTo>
                                    <a:pt x="834" y="381"/>
                                  </a:lnTo>
                                  <a:lnTo>
                                    <a:pt x="828" y="359"/>
                                  </a:lnTo>
                                  <a:lnTo>
                                    <a:pt x="822" y="342"/>
                                  </a:lnTo>
                                  <a:lnTo>
                                    <a:pt x="822" y="336"/>
                                  </a:lnTo>
                                  <a:lnTo>
                                    <a:pt x="817" y="331"/>
                                  </a:lnTo>
                                  <a:lnTo>
                                    <a:pt x="817" y="319"/>
                                  </a:lnTo>
                                  <a:lnTo>
                                    <a:pt x="811" y="314"/>
                                  </a:lnTo>
                                  <a:lnTo>
                                    <a:pt x="806" y="308"/>
                                  </a:lnTo>
                                  <a:lnTo>
                                    <a:pt x="794" y="303"/>
                                  </a:lnTo>
                                  <a:lnTo>
                                    <a:pt x="789" y="303"/>
                                  </a:lnTo>
                                  <a:lnTo>
                                    <a:pt x="783" y="297"/>
                                  </a:lnTo>
                                  <a:lnTo>
                                    <a:pt x="778" y="297"/>
                                  </a:lnTo>
                                  <a:lnTo>
                                    <a:pt x="767" y="291"/>
                                  </a:lnTo>
                                  <a:lnTo>
                                    <a:pt x="755" y="291"/>
                                  </a:lnTo>
                                  <a:lnTo>
                                    <a:pt x="739" y="286"/>
                                  </a:lnTo>
                                  <a:lnTo>
                                    <a:pt x="727" y="269"/>
                                  </a:lnTo>
                                  <a:lnTo>
                                    <a:pt x="716" y="258"/>
                                  </a:lnTo>
                                  <a:lnTo>
                                    <a:pt x="694" y="224"/>
                                  </a:lnTo>
                                  <a:lnTo>
                                    <a:pt x="683" y="213"/>
                                  </a:lnTo>
                                  <a:lnTo>
                                    <a:pt x="671" y="202"/>
                                  </a:lnTo>
                                  <a:lnTo>
                                    <a:pt x="660" y="179"/>
                                  </a:lnTo>
                                  <a:lnTo>
                                    <a:pt x="649" y="168"/>
                                  </a:lnTo>
                                  <a:lnTo>
                                    <a:pt x="638" y="151"/>
                                  </a:lnTo>
                                  <a:lnTo>
                                    <a:pt x="638" y="146"/>
                                  </a:lnTo>
                                  <a:lnTo>
                                    <a:pt x="632" y="129"/>
                                  </a:lnTo>
                                  <a:lnTo>
                                    <a:pt x="632" y="123"/>
                                  </a:lnTo>
                                  <a:lnTo>
                                    <a:pt x="627" y="118"/>
                                  </a:lnTo>
                                  <a:lnTo>
                                    <a:pt x="621" y="106"/>
                                  </a:lnTo>
                                  <a:lnTo>
                                    <a:pt x="621" y="95"/>
                                  </a:lnTo>
                                  <a:lnTo>
                                    <a:pt x="621" y="84"/>
                                  </a:lnTo>
                                  <a:lnTo>
                                    <a:pt x="615" y="73"/>
                                  </a:lnTo>
                                  <a:lnTo>
                                    <a:pt x="615" y="62"/>
                                  </a:lnTo>
                                  <a:lnTo>
                                    <a:pt x="615" y="50"/>
                                  </a:lnTo>
                                  <a:lnTo>
                                    <a:pt x="615" y="34"/>
                                  </a:lnTo>
                                  <a:lnTo>
                                    <a:pt x="615" y="22"/>
                                  </a:lnTo>
                                  <a:lnTo>
                                    <a:pt x="615" y="11"/>
                                  </a:lnTo>
                                  <a:lnTo>
                                    <a:pt x="615" y="0"/>
                                  </a:lnTo>
                                  <a:lnTo>
                                    <a:pt x="576" y="6"/>
                                  </a:lnTo>
                                  <a:lnTo>
                                    <a:pt x="537" y="11"/>
                                  </a:lnTo>
                                  <a:lnTo>
                                    <a:pt x="504" y="17"/>
                                  </a:lnTo>
                                  <a:lnTo>
                                    <a:pt x="470" y="17"/>
                                  </a:lnTo>
                                  <a:lnTo>
                                    <a:pt x="431" y="22"/>
                                  </a:lnTo>
                                  <a:lnTo>
                                    <a:pt x="392" y="22"/>
                                  </a:lnTo>
                                  <a:lnTo>
                                    <a:pt x="352" y="28"/>
                                  </a:lnTo>
                                  <a:lnTo>
                                    <a:pt x="313" y="34"/>
                                  </a:lnTo>
                                  <a:lnTo>
                                    <a:pt x="280" y="34"/>
                                  </a:lnTo>
                                  <a:lnTo>
                                    <a:pt x="241" y="34"/>
                                  </a:lnTo>
                                  <a:lnTo>
                                    <a:pt x="201" y="39"/>
                                  </a:lnTo>
                                  <a:lnTo>
                                    <a:pt x="162" y="39"/>
                                  </a:lnTo>
                                  <a:lnTo>
                                    <a:pt x="117" y="39"/>
                                  </a:lnTo>
                                  <a:lnTo>
                                    <a:pt x="78" y="39"/>
                                  </a:lnTo>
                                  <a:lnTo>
                                    <a:pt x="39" y="39"/>
                                  </a:lnTo>
                                  <a:lnTo>
                                    <a:pt x="0" y="39"/>
                                  </a:lnTo>
                                </a:path>
                              </a:pathLst>
                            </a:custGeom>
                            <a:solidFill>
                              <a:schemeClr val="accent1">
                                <a:lumMod val="20000"/>
                                <a:lumOff val="80000"/>
                              </a:schemeClr>
                            </a:solidFill>
                            <a:ln w="31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lIns="104000" tIns="104000" rIns="104000" bIns="104000" anchor="ctr"/>
                            <a:lstStyle/>
                            <a:p>
                              <a:pPr algn="ctr" defTabSz="457200">
                                <a:lnSpc>
                                  <a:spcPct val="90000"/>
                                </a:lnSpc>
                                <a:buClr>
                                  <a:srgbClr val="0563C1"/>
                                </a:buClr>
                                <a:buSzPct val="110000"/>
                                <a:defRPr/>
                              </a:pPr>
                              <a:endParaRPr lang="en-US" sz="1050" dirty="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grpSp>
                          <p:nvGrpSpPr>
                            <p:cNvPr id="127" name="Group 42">
                              <a:extLst>
                                <a:ext uri="{FF2B5EF4-FFF2-40B4-BE49-F238E27FC236}">
                                  <a16:creationId xmlns:a16="http://schemas.microsoft.com/office/drawing/2014/main" xmlns="" id="{3D066A85-D8ED-440D-B751-44D068A172D8}"/>
                                </a:ext>
                              </a:extLst>
                            </p:cNvPr>
                            <p:cNvGrpSpPr>
                              <a:grpSpLocks/>
                            </p:cNvGrpSpPr>
                            <p:nvPr/>
                          </p:nvGrpSpPr>
                          <p:grpSpPr bwMode="auto">
                            <a:xfrm>
                              <a:off x="323522" y="1341312"/>
                              <a:ext cx="8064059" cy="4896000"/>
                              <a:chOff x="323522" y="1341312"/>
                              <a:chExt cx="8064059" cy="4896000"/>
                            </a:xfrm>
                          </p:grpSpPr>
                          <p:sp>
                            <p:nvSpPr>
                              <p:cNvPr id="128" name="Freeform 3">
                                <a:extLst>
                                  <a:ext uri="{FF2B5EF4-FFF2-40B4-BE49-F238E27FC236}">
                                    <a16:creationId xmlns:a16="http://schemas.microsoft.com/office/drawing/2014/main" xmlns="" id="{AF0CCDAB-FC50-4FF1-8BEF-62D277C117AC}"/>
                                  </a:ext>
                                </a:extLst>
                              </p:cNvPr>
                              <p:cNvSpPr>
                                <a:spLocks noEditPoints="1"/>
                              </p:cNvSpPr>
                              <p:nvPr/>
                            </p:nvSpPr>
                            <p:spPr bwMode="auto">
                              <a:xfrm>
                                <a:off x="3131523" y="1587219"/>
                                <a:ext cx="1497446" cy="213938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9" y="6"/>
                                  </a:cxn>
                                  <a:cxn ang="0">
                                    <a:pos x="121" y="17"/>
                                  </a:cxn>
                                  <a:cxn ang="0">
                                    <a:pos x="118" y="22"/>
                                  </a:cxn>
                                  <a:cxn ang="0">
                                    <a:pos x="121" y="29"/>
                                  </a:cxn>
                                  <a:cxn ang="0">
                                    <a:pos x="118" y="33"/>
                                  </a:cxn>
                                  <a:cxn ang="0">
                                    <a:pos x="123" y="38"/>
                                  </a:cxn>
                                  <a:cxn ang="0">
                                    <a:pos x="117" y="48"/>
                                  </a:cxn>
                                  <a:cxn ang="0">
                                    <a:pos x="114" y="62"/>
                                  </a:cxn>
                                  <a:cxn ang="0">
                                    <a:pos x="110" y="79"/>
                                  </a:cxn>
                                  <a:cxn ang="0">
                                    <a:pos x="103" y="96"/>
                                  </a:cxn>
                                  <a:cxn ang="0">
                                    <a:pos x="109" y="107"/>
                                  </a:cxn>
                                  <a:cxn ang="0">
                                    <a:pos x="119" y="113"/>
                                  </a:cxn>
                                  <a:cxn ang="0">
                                    <a:pos x="134" y="121"/>
                                  </a:cxn>
                                  <a:cxn ang="0">
                                    <a:pos x="150" y="126"/>
                                  </a:cxn>
                                  <a:cxn ang="0">
                                    <a:pos x="149" y="135"/>
                                  </a:cxn>
                                  <a:cxn ang="0">
                                    <a:pos x="129" y="157"/>
                                  </a:cxn>
                                  <a:cxn ang="0">
                                    <a:pos x="120" y="169"/>
                                  </a:cxn>
                                  <a:cxn ang="0">
                                    <a:pos x="108" y="180"/>
                                  </a:cxn>
                                  <a:cxn ang="0">
                                    <a:pos x="90" y="182"/>
                                  </a:cxn>
                                  <a:cxn ang="0">
                                    <a:pos x="75" y="197"/>
                                  </a:cxn>
                                  <a:cxn ang="0">
                                    <a:pos x="68" y="194"/>
                                  </a:cxn>
                                  <a:cxn ang="0">
                                    <a:pos x="52" y="180"/>
                                  </a:cxn>
                                  <a:cxn ang="0">
                                    <a:pos x="46" y="173"/>
                                  </a:cxn>
                                  <a:cxn ang="0">
                                    <a:pos x="39" y="170"/>
                                  </a:cxn>
                                  <a:cxn ang="0">
                                    <a:pos x="42" y="158"/>
                                  </a:cxn>
                                  <a:cxn ang="0">
                                    <a:pos x="50" y="148"/>
                                  </a:cxn>
                                  <a:cxn ang="0">
                                    <a:pos x="46" y="122"/>
                                  </a:cxn>
                                  <a:cxn ang="0">
                                    <a:pos x="28" y="98"/>
                                  </a:cxn>
                                  <a:cxn ang="0">
                                    <a:pos x="14" y="90"/>
                                  </a:cxn>
                                  <a:cxn ang="0">
                                    <a:pos x="4" y="82"/>
                                  </a:cxn>
                                  <a:cxn ang="0">
                                    <a:pos x="0" y="78"/>
                                  </a:cxn>
                                  <a:cxn ang="0">
                                    <a:pos x="5" y="75"/>
                                  </a:cxn>
                                  <a:cxn ang="0">
                                    <a:pos x="9" y="73"/>
                                  </a:cxn>
                                  <a:cxn ang="0">
                                    <a:pos x="15" y="69"/>
                                  </a:cxn>
                                  <a:cxn ang="0">
                                    <a:pos x="17" y="63"/>
                                  </a:cxn>
                                  <a:cxn ang="0">
                                    <a:pos x="14" y="57"/>
                                  </a:cxn>
                                  <a:cxn ang="0">
                                    <a:pos x="18" y="50"/>
                                  </a:cxn>
                                  <a:cxn ang="0">
                                    <a:pos x="36" y="50"/>
                                  </a:cxn>
                                  <a:cxn ang="0">
                                    <a:pos x="39" y="47"/>
                                  </a:cxn>
                                  <a:cxn ang="0">
                                    <a:pos x="38" y="42"/>
                                  </a:cxn>
                                  <a:cxn ang="0">
                                    <a:pos x="34" y="40"/>
                                  </a:cxn>
                                  <a:cxn ang="0">
                                    <a:pos x="28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31" y="29"/>
                                  </a:cxn>
                                  <a:cxn ang="0">
                                    <a:pos x="28" y="28"/>
                                  </a:cxn>
                                  <a:cxn ang="0">
                                    <a:pos x="21" y="26"/>
                                  </a:cxn>
                                  <a:cxn ang="0">
                                    <a:pos x="23" y="23"/>
                                  </a:cxn>
                                  <a:cxn ang="0">
                                    <a:pos x="23" y="20"/>
                                  </a:cxn>
                                  <a:cxn ang="0">
                                    <a:pos x="22" y="17"/>
                                  </a:cxn>
                                  <a:cxn ang="0">
                                    <a:pos x="31" y="18"/>
                                  </a:cxn>
                                  <a:cxn ang="0">
                                    <a:pos x="54" y="18"/>
                                  </a:cxn>
                                  <a:cxn ang="0">
                                    <a:pos x="63" y="15"/>
                                  </a:cxn>
                                  <a:cxn ang="0">
                                    <a:pos x="69" y="13"/>
                                  </a:cxn>
                                  <a:cxn ang="0">
                                    <a:pos x="80" y="10"/>
                                  </a:cxn>
                                  <a:cxn ang="0">
                                    <a:pos x="88" y="12"/>
                                  </a:cxn>
                                  <a:cxn ang="0">
                                    <a:pos x="98" y="10"/>
                                  </a:cxn>
                                  <a:cxn ang="0">
                                    <a:pos x="100" y="5"/>
                                  </a:cxn>
                                  <a:cxn ang="0">
                                    <a:pos x="104" y="3"/>
                                  </a:cxn>
                                  <a:cxn ang="0">
                                    <a:pos x="109" y="1"/>
                                  </a:cxn>
                                  <a:cxn ang="0">
                                    <a:pos x="9" y="86"/>
                                  </a:cxn>
                                  <a:cxn ang="0">
                                    <a:pos x="11" y="85"/>
                                  </a:cxn>
                                </a:cxnLst>
                                <a:rect l="0" t="0" r="r" b="b"/>
                                <a:pathLst>
                                  <a:path w="151" h="199">
                                    <a:moveTo>
                                      <a:pt x="109" y="0"/>
                                    </a:moveTo>
                                    <a:lnTo>
                                      <a:pt x="112" y="0"/>
                                    </a:lnTo>
                                    <a:lnTo>
                                      <a:pt x="114" y="0"/>
                                    </a:lnTo>
                                    <a:lnTo>
                                      <a:pt x="116" y="0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3"/>
                                    </a:lnTo>
                                    <a:lnTo>
                                      <a:pt x="119" y="4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6"/>
                                    </a:lnTo>
                                    <a:lnTo>
                                      <a:pt x="119" y="7"/>
                                    </a:lnTo>
                                    <a:lnTo>
                                      <a:pt x="119" y="8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3"/>
                                    </a:lnTo>
                                    <a:lnTo>
                                      <a:pt x="120" y="14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6"/>
                                    </a:lnTo>
                                    <a:lnTo>
                                      <a:pt x="121" y="16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20"/>
                                    </a:lnTo>
                                    <a:lnTo>
                                      <a:pt x="120" y="20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8" y="21"/>
                                    </a:lnTo>
                                    <a:lnTo>
                                      <a:pt x="118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6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19" y="26"/>
                                    </a:lnTo>
                                    <a:lnTo>
                                      <a:pt x="120" y="27"/>
                                    </a:lnTo>
                                    <a:lnTo>
                                      <a:pt x="120" y="28"/>
                                    </a:lnTo>
                                    <a:lnTo>
                                      <a:pt x="121" y="28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19" y="32"/>
                                    </a:lnTo>
                                    <a:lnTo>
                                      <a:pt x="119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20" y="36"/>
                                    </a:lnTo>
                                    <a:lnTo>
                                      <a:pt x="121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9"/>
                                    </a:lnTo>
                                    <a:lnTo>
                                      <a:pt x="122" y="40"/>
                                    </a:lnTo>
                                    <a:lnTo>
                                      <a:pt x="122" y="42"/>
                                    </a:lnTo>
                                    <a:lnTo>
                                      <a:pt x="121" y="44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0" y="46"/>
                                    </a:lnTo>
                                    <a:lnTo>
                                      <a:pt x="120" y="47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8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5" y="48"/>
                                    </a:lnTo>
                                    <a:lnTo>
                                      <a:pt x="114" y="48"/>
                                    </a:lnTo>
                                    <a:lnTo>
                                      <a:pt x="115" y="49"/>
                                    </a:lnTo>
                                    <a:lnTo>
                                      <a:pt x="115" y="51"/>
                                    </a:lnTo>
                                    <a:lnTo>
                                      <a:pt x="114" y="53"/>
                                    </a:lnTo>
                                    <a:lnTo>
                                      <a:pt x="114" y="56"/>
                                    </a:lnTo>
                                    <a:lnTo>
                                      <a:pt x="114" y="58"/>
                                    </a:lnTo>
                                    <a:lnTo>
                                      <a:pt x="114" y="60"/>
                                    </a:lnTo>
                                    <a:lnTo>
                                      <a:pt x="114" y="61"/>
                                    </a:lnTo>
                                    <a:lnTo>
                                      <a:pt x="114" y="62"/>
                                    </a:lnTo>
                                    <a:lnTo>
                                      <a:pt x="115" y="63"/>
                                    </a:lnTo>
                                    <a:lnTo>
                                      <a:pt x="115" y="64"/>
                                    </a:lnTo>
                                    <a:lnTo>
                                      <a:pt x="115" y="65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8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72"/>
                                    </a:lnTo>
                                    <a:lnTo>
                                      <a:pt x="114" y="74"/>
                                    </a:lnTo>
                                    <a:lnTo>
                                      <a:pt x="113" y="75"/>
                                    </a:lnTo>
                                    <a:lnTo>
                                      <a:pt x="112" y="77"/>
                                    </a:lnTo>
                                    <a:lnTo>
                                      <a:pt x="111" y="78"/>
                                    </a:lnTo>
                                    <a:lnTo>
                                      <a:pt x="110" y="79"/>
                                    </a:lnTo>
                                    <a:lnTo>
                                      <a:pt x="109" y="81"/>
                                    </a:lnTo>
                                    <a:lnTo>
                                      <a:pt x="108" y="82"/>
                                    </a:lnTo>
                                    <a:lnTo>
                                      <a:pt x="107" y="83"/>
                                    </a:lnTo>
                                    <a:lnTo>
                                      <a:pt x="106" y="84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6"/>
                                    </a:lnTo>
                                    <a:lnTo>
                                      <a:pt x="101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2" y="90"/>
                                    </a:lnTo>
                                    <a:lnTo>
                                      <a:pt x="102" y="91"/>
                                    </a:lnTo>
                                    <a:lnTo>
                                      <a:pt x="102" y="92"/>
                                    </a:lnTo>
                                    <a:lnTo>
                                      <a:pt x="103" y="94"/>
                                    </a:lnTo>
                                    <a:lnTo>
                                      <a:pt x="103" y="96"/>
                                    </a:lnTo>
                                    <a:lnTo>
                                      <a:pt x="103" y="98"/>
                                    </a:lnTo>
                                    <a:lnTo>
                                      <a:pt x="103" y="100"/>
                                    </a:lnTo>
                                    <a:lnTo>
                                      <a:pt x="103" y="102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4" y="106"/>
                                    </a:lnTo>
                                    <a:lnTo>
                                      <a:pt x="104" y="107"/>
                                    </a:lnTo>
                                    <a:lnTo>
                                      <a:pt x="105" y="107"/>
                                    </a:lnTo>
                                    <a:lnTo>
                                      <a:pt x="106" y="107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9" y="107"/>
                                    </a:lnTo>
                                    <a:lnTo>
                                      <a:pt x="111" y="106"/>
                                    </a:lnTo>
                                    <a:lnTo>
                                      <a:pt x="112" y="106"/>
                                    </a:lnTo>
                                    <a:lnTo>
                                      <a:pt x="113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5" y="108"/>
                                    </a:lnTo>
                                    <a:lnTo>
                                      <a:pt x="115" y="109"/>
                                    </a:lnTo>
                                    <a:lnTo>
                                      <a:pt x="116" y="109"/>
                                    </a:lnTo>
                                    <a:lnTo>
                                      <a:pt x="116" y="110"/>
                                    </a:lnTo>
                                    <a:lnTo>
                                      <a:pt x="117" y="111"/>
                                    </a:lnTo>
                                    <a:lnTo>
                                      <a:pt x="117" y="112"/>
                                    </a:lnTo>
                                    <a:lnTo>
                                      <a:pt x="118" y="113"/>
                                    </a:lnTo>
                                    <a:lnTo>
                                      <a:pt x="119" y="113"/>
                                    </a:lnTo>
                                    <a:lnTo>
                                      <a:pt x="120" y="114"/>
                                    </a:lnTo>
                                    <a:lnTo>
                                      <a:pt x="121" y="114"/>
                                    </a:lnTo>
                                    <a:lnTo>
                                      <a:pt x="122" y="115"/>
                                    </a:lnTo>
                                    <a:lnTo>
                                      <a:pt x="123" y="115"/>
                                    </a:lnTo>
                                    <a:lnTo>
                                      <a:pt x="125" y="115"/>
                                    </a:lnTo>
                                    <a:lnTo>
                                      <a:pt x="126" y="115"/>
                                    </a:lnTo>
                                    <a:lnTo>
                                      <a:pt x="128" y="115"/>
                                    </a:lnTo>
                                    <a:lnTo>
                                      <a:pt x="129" y="115"/>
                                    </a:lnTo>
                                    <a:lnTo>
                                      <a:pt x="130" y="116"/>
                                    </a:lnTo>
                                    <a:lnTo>
                                      <a:pt x="131" y="117"/>
                                    </a:lnTo>
                                    <a:lnTo>
                                      <a:pt x="132" y="118"/>
                                    </a:lnTo>
                                    <a:lnTo>
                                      <a:pt x="132" y="119"/>
                                    </a:lnTo>
                                    <a:lnTo>
                                      <a:pt x="134" y="121"/>
                                    </a:lnTo>
                                    <a:lnTo>
                                      <a:pt x="136" y="123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41" y="123"/>
                                    </a:lnTo>
                                    <a:lnTo>
                                      <a:pt x="143" y="123"/>
                                    </a:lnTo>
                                    <a:lnTo>
                                      <a:pt x="144" y="123"/>
                                    </a:lnTo>
                                    <a:lnTo>
                                      <a:pt x="145" y="123"/>
                                    </a:lnTo>
                                    <a:lnTo>
                                      <a:pt x="146" y="123"/>
                                    </a:lnTo>
                                    <a:lnTo>
                                      <a:pt x="147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50" y="125"/>
                                    </a:lnTo>
                                    <a:lnTo>
                                      <a:pt x="150" y="126"/>
                                    </a:lnTo>
                                    <a:lnTo>
                                      <a:pt x="151" y="126"/>
                                    </a:lnTo>
                                    <a:lnTo>
                                      <a:pt x="151" y="127"/>
                                    </a:lnTo>
                                    <a:lnTo>
                                      <a:pt x="151" y="128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0" y="131"/>
                                    </a:lnTo>
                                    <a:lnTo>
                                      <a:pt x="150" y="132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4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6"/>
                                    </a:lnTo>
                                    <a:lnTo>
                                      <a:pt x="147" y="138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4" y="141"/>
                                    </a:lnTo>
                                    <a:lnTo>
                                      <a:pt x="142" y="143"/>
                                    </a:lnTo>
                                    <a:lnTo>
                                      <a:pt x="141" y="144"/>
                                    </a:lnTo>
                                    <a:lnTo>
                                      <a:pt x="139" y="146"/>
                                    </a:lnTo>
                                    <a:lnTo>
                                      <a:pt x="136" y="150"/>
                                    </a:lnTo>
                                    <a:lnTo>
                                      <a:pt x="134" y="152"/>
                                    </a:lnTo>
                                    <a:lnTo>
                                      <a:pt x="133" y="154"/>
                                    </a:lnTo>
                                    <a:lnTo>
                                      <a:pt x="131" y="155"/>
                                    </a:lnTo>
                                    <a:lnTo>
                                      <a:pt x="129" y="157"/>
                                    </a:lnTo>
                                    <a:lnTo>
                                      <a:pt x="127" y="159"/>
                                    </a:lnTo>
                                    <a:lnTo>
                                      <a:pt x="125" y="160"/>
                                    </a:lnTo>
                                    <a:lnTo>
                                      <a:pt x="123" y="162"/>
                                    </a:lnTo>
                                    <a:lnTo>
                                      <a:pt x="122" y="162"/>
                                    </a:lnTo>
                                    <a:lnTo>
                                      <a:pt x="121" y="163"/>
                                    </a:lnTo>
                                    <a:lnTo>
                                      <a:pt x="121" y="164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7"/>
                                    </a:lnTo>
                                    <a:lnTo>
                                      <a:pt x="120" y="168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9" y="169"/>
                                    </a:lnTo>
                                    <a:lnTo>
                                      <a:pt x="119" y="170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2"/>
                                    </a:lnTo>
                                    <a:lnTo>
                                      <a:pt x="119" y="173"/>
                                    </a:lnTo>
                                    <a:lnTo>
                                      <a:pt x="118" y="173"/>
                                    </a:lnTo>
                                    <a:lnTo>
                                      <a:pt x="117" y="174"/>
                                    </a:lnTo>
                                    <a:lnTo>
                                      <a:pt x="115" y="175"/>
                                    </a:lnTo>
                                    <a:lnTo>
                                      <a:pt x="114" y="176"/>
                                    </a:lnTo>
                                    <a:lnTo>
                                      <a:pt x="112" y="178"/>
                                    </a:lnTo>
                                    <a:lnTo>
                                      <a:pt x="110" y="179"/>
                                    </a:lnTo>
                                    <a:lnTo>
                                      <a:pt x="108" y="180"/>
                                    </a:lnTo>
                                    <a:lnTo>
                                      <a:pt x="106" y="182"/>
                                    </a:lnTo>
                                    <a:lnTo>
                                      <a:pt x="104" y="183"/>
                                    </a:lnTo>
                                    <a:lnTo>
                                      <a:pt x="103" y="183"/>
                                    </a:lnTo>
                                    <a:lnTo>
                                      <a:pt x="102" y="183"/>
                                    </a:lnTo>
                                    <a:lnTo>
                                      <a:pt x="100" y="183"/>
                                    </a:lnTo>
                                    <a:lnTo>
                                      <a:pt x="99" y="183"/>
                                    </a:lnTo>
                                    <a:lnTo>
                                      <a:pt x="97" y="183"/>
                                    </a:lnTo>
                                    <a:lnTo>
                                      <a:pt x="96" y="183"/>
                                    </a:lnTo>
                                    <a:lnTo>
                                      <a:pt x="95" y="183"/>
                                    </a:lnTo>
                                    <a:lnTo>
                                      <a:pt x="94" y="183"/>
                                    </a:lnTo>
                                    <a:lnTo>
                                      <a:pt x="92" y="182"/>
                                    </a:lnTo>
                                    <a:lnTo>
                                      <a:pt x="91" y="182"/>
                                    </a:lnTo>
                                    <a:lnTo>
                                      <a:pt x="90" y="182"/>
                                    </a:lnTo>
                                    <a:lnTo>
                                      <a:pt x="89" y="182"/>
                                    </a:lnTo>
                                    <a:lnTo>
                                      <a:pt x="88" y="182"/>
                                    </a:lnTo>
                                    <a:lnTo>
                                      <a:pt x="87" y="183"/>
                                    </a:lnTo>
                                    <a:lnTo>
                                      <a:pt x="86" y="183"/>
                                    </a:lnTo>
                                    <a:lnTo>
                                      <a:pt x="84" y="185"/>
                                    </a:lnTo>
                                    <a:lnTo>
                                      <a:pt x="83" y="188"/>
                                    </a:lnTo>
                                    <a:lnTo>
                                      <a:pt x="81" y="190"/>
                                    </a:lnTo>
                                    <a:lnTo>
                                      <a:pt x="80" y="192"/>
                                    </a:lnTo>
                                    <a:lnTo>
                                      <a:pt x="79" y="193"/>
                                    </a:lnTo>
                                    <a:lnTo>
                                      <a:pt x="78" y="194"/>
                                    </a:lnTo>
                                    <a:lnTo>
                                      <a:pt x="77" y="195"/>
                                    </a:lnTo>
                                    <a:lnTo>
                                      <a:pt x="76" y="196"/>
                                    </a:lnTo>
                                    <a:lnTo>
                                      <a:pt x="75" y="197"/>
                                    </a:lnTo>
                                    <a:lnTo>
                                      <a:pt x="74" y="198"/>
                                    </a:lnTo>
                                    <a:lnTo>
                                      <a:pt x="72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69" y="199"/>
                                    </a:lnTo>
                                    <a:lnTo>
                                      <a:pt x="69" y="198"/>
                                    </a:lnTo>
                                    <a:lnTo>
                                      <a:pt x="68" y="197"/>
                                    </a:lnTo>
                                    <a:lnTo>
                                      <a:pt x="68" y="196"/>
                                    </a:lnTo>
                                    <a:lnTo>
                                      <a:pt x="68" y="195"/>
                                    </a:lnTo>
                                    <a:lnTo>
                                      <a:pt x="68" y="194"/>
                                    </a:lnTo>
                                    <a:lnTo>
                                      <a:pt x="68" y="193"/>
                                    </a:lnTo>
                                    <a:lnTo>
                                      <a:pt x="68" y="191"/>
                                    </a:lnTo>
                                    <a:lnTo>
                                      <a:pt x="67" y="190"/>
                                    </a:lnTo>
                                    <a:lnTo>
                                      <a:pt x="65" y="189"/>
                                    </a:lnTo>
                                    <a:lnTo>
                                      <a:pt x="64" y="188"/>
                                    </a:lnTo>
                                    <a:lnTo>
                                      <a:pt x="62" y="187"/>
                                    </a:lnTo>
                                    <a:lnTo>
                                      <a:pt x="59" y="186"/>
                                    </a:lnTo>
                                    <a:lnTo>
                                      <a:pt x="58" y="185"/>
                                    </a:lnTo>
                                    <a:lnTo>
                                      <a:pt x="57" y="184"/>
                                    </a:lnTo>
                                    <a:lnTo>
                                      <a:pt x="55" y="183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3" y="181"/>
                                    </a:lnTo>
                                    <a:lnTo>
                                      <a:pt x="52" y="180"/>
                                    </a:lnTo>
                                    <a:lnTo>
                                      <a:pt x="51" y="179"/>
                                    </a:lnTo>
                                    <a:lnTo>
                                      <a:pt x="51" y="178"/>
                                    </a:lnTo>
                                    <a:lnTo>
                                      <a:pt x="50" y="178"/>
                                    </a:lnTo>
                                    <a:lnTo>
                                      <a:pt x="50" y="177"/>
                                    </a:lnTo>
                                    <a:lnTo>
                                      <a:pt x="50" y="176"/>
                                    </a:lnTo>
                                    <a:lnTo>
                                      <a:pt x="50" y="175"/>
                                    </a:lnTo>
                                    <a:lnTo>
                                      <a:pt x="50" y="174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8" y="173"/>
                                    </a:lnTo>
                                    <a:lnTo>
                                      <a:pt x="47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5" y="173"/>
                                    </a:lnTo>
                                    <a:lnTo>
                                      <a:pt x="45" y="174"/>
                                    </a:lnTo>
                                    <a:lnTo>
                                      <a:pt x="44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1" y="173"/>
                                    </a:lnTo>
                                    <a:lnTo>
                                      <a:pt x="41" y="172"/>
                                    </a:lnTo>
                                    <a:lnTo>
                                      <a:pt x="40" y="172"/>
                                    </a:lnTo>
                                    <a:lnTo>
                                      <a:pt x="39" y="171"/>
                                    </a:lnTo>
                                    <a:lnTo>
                                      <a:pt x="39" y="170"/>
                                    </a:lnTo>
                                    <a:lnTo>
                                      <a:pt x="39" y="169"/>
                                    </a:lnTo>
                                    <a:lnTo>
                                      <a:pt x="39" y="168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40" y="166"/>
                                    </a:lnTo>
                                    <a:lnTo>
                                      <a:pt x="40" y="164"/>
                                    </a:lnTo>
                                    <a:lnTo>
                                      <a:pt x="40" y="163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0"/>
                                    </a:lnTo>
                                    <a:lnTo>
                                      <a:pt x="41" y="159"/>
                                    </a:lnTo>
                                    <a:lnTo>
                                      <a:pt x="41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3" y="157"/>
                                    </a:lnTo>
                                    <a:lnTo>
                                      <a:pt x="45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6" y="156"/>
                                    </a:lnTo>
                                    <a:lnTo>
                                      <a:pt x="47" y="155"/>
                                    </a:lnTo>
                                    <a:lnTo>
                                      <a:pt x="47" y="154"/>
                                    </a:lnTo>
                                    <a:lnTo>
                                      <a:pt x="48" y="153"/>
                                    </a:lnTo>
                                    <a:lnTo>
                                      <a:pt x="49" y="151"/>
                                    </a:lnTo>
                                    <a:lnTo>
                                      <a:pt x="49" y="150"/>
                                    </a:lnTo>
                                    <a:lnTo>
                                      <a:pt x="50" y="149"/>
                                    </a:lnTo>
                                    <a:lnTo>
                                      <a:pt x="50" y="148"/>
                                    </a:lnTo>
                                    <a:lnTo>
                                      <a:pt x="51" y="147"/>
                                    </a:lnTo>
                                    <a:lnTo>
                                      <a:pt x="52" y="147"/>
                                    </a:lnTo>
                                    <a:lnTo>
                                      <a:pt x="53" y="146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1" y="140"/>
                                    </a:lnTo>
                                    <a:lnTo>
                                      <a:pt x="51" y="138"/>
                                    </a:lnTo>
                                    <a:lnTo>
                                      <a:pt x="50" y="136"/>
                                    </a:lnTo>
                                    <a:lnTo>
                                      <a:pt x="50" y="134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26"/>
                                    </a:lnTo>
                                    <a:lnTo>
                                      <a:pt x="46" y="124"/>
                                    </a:lnTo>
                                    <a:lnTo>
                                      <a:pt x="46" y="122"/>
                                    </a:lnTo>
                                    <a:lnTo>
                                      <a:pt x="45" y="120"/>
                                    </a:lnTo>
                                    <a:lnTo>
                                      <a:pt x="45" y="118"/>
                                    </a:lnTo>
                                    <a:lnTo>
                                      <a:pt x="45" y="115"/>
                                    </a:lnTo>
                                    <a:lnTo>
                                      <a:pt x="45" y="113"/>
                                    </a:lnTo>
                                    <a:lnTo>
                                      <a:pt x="43" y="111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0" y="107"/>
                                    </a:lnTo>
                                    <a:lnTo>
                                      <a:pt x="39" y="105"/>
                                    </a:lnTo>
                                    <a:lnTo>
                                      <a:pt x="36" y="102"/>
                                    </a:lnTo>
                                    <a:lnTo>
                                      <a:pt x="33" y="98"/>
                                    </a:lnTo>
                                    <a:lnTo>
                                      <a:pt x="31" y="98"/>
                                    </a:lnTo>
                                    <a:lnTo>
                                      <a:pt x="29" y="98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6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5" y="97"/>
                                    </a:lnTo>
                                    <a:lnTo>
                                      <a:pt x="24" y="96"/>
                                    </a:lnTo>
                                    <a:lnTo>
                                      <a:pt x="22" y="95"/>
                                    </a:lnTo>
                                    <a:lnTo>
                                      <a:pt x="21" y="94"/>
                                    </a:lnTo>
                                    <a:lnTo>
                                      <a:pt x="19" y="94"/>
                                    </a:lnTo>
                                    <a:lnTo>
                                      <a:pt x="18" y="93"/>
                                    </a:lnTo>
                                    <a:lnTo>
                                      <a:pt x="16" y="92"/>
                                    </a:lnTo>
                                    <a:lnTo>
                                      <a:pt x="15" y="91"/>
                                    </a:lnTo>
                                    <a:lnTo>
                                      <a:pt x="14" y="91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2" y="89"/>
                                    </a:lnTo>
                                    <a:lnTo>
                                      <a:pt x="11" y="88"/>
                                    </a:lnTo>
                                    <a:lnTo>
                                      <a:pt x="9" y="88"/>
                                    </a:lnTo>
                                    <a:lnTo>
                                      <a:pt x="8" y="88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5" y="88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3" y="76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6" y="75"/>
                                    </a:lnTo>
                                    <a:lnTo>
                                      <a:pt x="7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4" y="72"/>
                                    </a:lnTo>
                                    <a:lnTo>
                                      <a:pt x="14" y="71"/>
                                    </a:lnTo>
                                    <a:lnTo>
                                      <a:pt x="14" y="70"/>
                                    </a:lnTo>
                                    <a:lnTo>
                                      <a:pt x="15" y="70"/>
                                    </a:lnTo>
                                    <a:lnTo>
                                      <a:pt x="15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7" y="68"/>
                                    </a:lnTo>
                                    <a:lnTo>
                                      <a:pt x="17" y="67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6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1"/>
                                    </a:lnTo>
                                    <a:lnTo>
                                      <a:pt x="16" y="60"/>
                                    </a:lnTo>
                                    <a:lnTo>
                                      <a:pt x="15" y="60"/>
                                    </a:lnTo>
                                    <a:lnTo>
                                      <a:pt x="15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5"/>
                                    </a:lnTo>
                                    <a:lnTo>
                                      <a:pt x="14" y="55"/>
                                    </a:lnTo>
                                    <a:lnTo>
                                      <a:pt x="14" y="54"/>
                                    </a:lnTo>
                                    <a:lnTo>
                                      <a:pt x="15" y="53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7" y="51"/>
                                    </a:lnTo>
                                    <a:lnTo>
                                      <a:pt x="18" y="51"/>
                                    </a:lnTo>
                                    <a:lnTo>
                                      <a:pt x="18" y="50"/>
                                    </a:lnTo>
                                    <a:lnTo>
                                      <a:pt x="19" y="50"/>
                                    </a:lnTo>
                                    <a:lnTo>
                                      <a:pt x="19" y="49"/>
                                    </a:lnTo>
                                    <a:lnTo>
                                      <a:pt x="19" y="48"/>
                                    </a:lnTo>
                                    <a:lnTo>
                                      <a:pt x="25" y="48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5" y="49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36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6"/>
                                    </a:lnTo>
                                    <a:lnTo>
                                      <a:pt x="39" y="45"/>
                                    </a:lnTo>
                                    <a:lnTo>
                                      <a:pt x="39" y="44"/>
                                    </a:lnTo>
                                    <a:lnTo>
                                      <a:pt x="39" y="43"/>
                                    </a:lnTo>
                                    <a:lnTo>
                                      <a:pt x="40" y="43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6" y="42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4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2" y="40"/>
                                    </a:lnTo>
                                    <a:lnTo>
                                      <a:pt x="32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0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8" y="33"/>
                                    </a:lnTo>
                                    <a:lnTo>
                                      <a:pt x="29" y="33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6" y="27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3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5" y="18"/>
                                    </a:lnTo>
                                    <a:lnTo>
                                      <a:pt x="39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8" y="18"/>
                                    </a:lnTo>
                                    <a:lnTo>
                                      <a:pt x="49" y="18"/>
                                    </a:lnTo>
                                    <a:lnTo>
                                      <a:pt x="50" y="18"/>
                                    </a:lnTo>
                                    <a:lnTo>
                                      <a:pt x="51" y="18"/>
                                    </a:lnTo>
                                    <a:lnTo>
                                      <a:pt x="52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7" y="17"/>
                                    </a:lnTo>
                                    <a:lnTo>
                                      <a:pt x="58" y="17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59" y="16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4" y="15"/>
                                    </a:lnTo>
                                    <a:lnTo>
                                      <a:pt x="65" y="15"/>
                                    </a:lnTo>
                                    <a:lnTo>
                                      <a:pt x="66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9" y="13"/>
                                    </a:lnTo>
                                    <a:lnTo>
                                      <a:pt x="69" y="14"/>
                                    </a:lnTo>
                                    <a:lnTo>
                                      <a:pt x="70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2" y="13"/>
                                    </a:lnTo>
                                    <a:lnTo>
                                      <a:pt x="73" y="13"/>
                                    </a:lnTo>
                                    <a:lnTo>
                                      <a:pt x="74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7" y="11"/>
                                    </a:lnTo>
                                    <a:lnTo>
                                      <a:pt x="78" y="11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80" y="10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7" y="12"/>
                                    </a:lnTo>
                                    <a:lnTo>
                                      <a:pt x="88" y="12"/>
                                    </a:lnTo>
                                    <a:lnTo>
                                      <a:pt x="90" y="12"/>
                                    </a:lnTo>
                                    <a:lnTo>
                                      <a:pt x="92" y="12"/>
                                    </a:lnTo>
                                    <a:lnTo>
                                      <a:pt x="94" y="12"/>
                                    </a:lnTo>
                                    <a:lnTo>
                                      <a:pt x="96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8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6"/>
                                    </a:lnTo>
                                    <a:lnTo>
                                      <a:pt x="99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5" y="2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7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moveTo>
                                      <a:pt x="11" y="85"/>
                                    </a:move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9" y="85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10" y="87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solidFill>
                                  <a:schemeClr val="accent1">
                                    <a:lumMod val="75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29" name="Freeform 4">
                                <a:extLst>
                                  <a:ext uri="{FF2B5EF4-FFF2-40B4-BE49-F238E27FC236}">
                                    <a16:creationId xmlns:a16="http://schemas.microsoft.com/office/drawing/2014/main" xmlns="" id="{44A75133-F680-4C0E-AEA5-D71E92A20911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131665" y="1864777"/>
                                <a:ext cx="1647422" cy="120740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81" y="1"/>
                                  </a:cxn>
                                  <a:cxn ang="0">
                                    <a:pos x="88" y="6"/>
                                  </a:cxn>
                                  <a:cxn ang="0">
                                    <a:pos x="92" y="10"/>
                                  </a:cxn>
                                  <a:cxn ang="0">
                                    <a:pos x="93" y="9"/>
                                  </a:cxn>
                                  <a:cxn ang="0">
                                    <a:pos x="113" y="11"/>
                                  </a:cxn>
                                  <a:cxn ang="0">
                                    <a:pos x="118" y="15"/>
                                  </a:cxn>
                                  <a:cxn ang="0">
                                    <a:pos x="123" y="21"/>
                                  </a:cxn>
                                  <a:cxn ang="0">
                                    <a:pos x="128" y="19"/>
                                  </a:cxn>
                                  <a:cxn ang="0">
                                    <a:pos x="136" y="19"/>
                                  </a:cxn>
                                  <a:cxn ang="0">
                                    <a:pos x="143" y="24"/>
                                  </a:cxn>
                                  <a:cxn ang="0">
                                    <a:pos x="152" y="25"/>
                                  </a:cxn>
                                  <a:cxn ang="0">
                                    <a:pos x="157" y="27"/>
                                  </a:cxn>
                                  <a:cxn ang="0">
                                    <a:pos x="163" y="33"/>
                                  </a:cxn>
                                  <a:cxn ang="0">
                                    <a:pos x="165" y="42"/>
                                  </a:cxn>
                                  <a:cxn ang="0">
                                    <a:pos x="163" y="52"/>
                                  </a:cxn>
                                  <a:cxn ang="0">
                                    <a:pos x="162" y="61"/>
                                  </a:cxn>
                                  <a:cxn ang="0">
                                    <a:pos x="160" y="66"/>
                                  </a:cxn>
                                  <a:cxn ang="0">
                                    <a:pos x="159" y="69"/>
                                  </a:cxn>
                                  <a:cxn ang="0">
                                    <a:pos x="162" y="74"/>
                                  </a:cxn>
                                  <a:cxn ang="0">
                                    <a:pos x="153" y="80"/>
                                  </a:cxn>
                                  <a:cxn ang="0">
                                    <a:pos x="142" y="89"/>
                                  </a:cxn>
                                  <a:cxn ang="0">
                                    <a:pos x="137" y="93"/>
                                  </a:cxn>
                                  <a:cxn ang="0">
                                    <a:pos x="132" y="96"/>
                                  </a:cxn>
                                  <a:cxn ang="0">
                                    <a:pos x="129" y="101"/>
                                  </a:cxn>
                                  <a:cxn ang="0">
                                    <a:pos x="122" y="102"/>
                                  </a:cxn>
                                  <a:cxn ang="0">
                                    <a:pos x="118" y="99"/>
                                  </a:cxn>
                                  <a:cxn ang="0">
                                    <a:pos x="116" y="95"/>
                                  </a:cxn>
                                  <a:cxn ang="0">
                                    <a:pos x="109" y="97"/>
                                  </a:cxn>
                                  <a:cxn ang="0">
                                    <a:pos x="104" y="103"/>
                                  </a:cxn>
                                  <a:cxn ang="0">
                                    <a:pos x="100" y="112"/>
                                  </a:cxn>
                                  <a:cxn ang="0">
                                    <a:pos x="87" y="111"/>
                                  </a:cxn>
                                  <a:cxn ang="0">
                                    <a:pos x="78" y="109"/>
                                  </a:cxn>
                                  <a:cxn ang="0">
                                    <a:pos x="75" y="104"/>
                                  </a:cxn>
                                  <a:cxn ang="0">
                                    <a:pos x="71" y="102"/>
                                  </a:cxn>
                                  <a:cxn ang="0">
                                    <a:pos x="64" y="98"/>
                                  </a:cxn>
                                  <a:cxn ang="0">
                                    <a:pos x="58" y="96"/>
                                  </a:cxn>
                                  <a:cxn ang="0">
                                    <a:pos x="52" y="100"/>
                                  </a:cxn>
                                  <a:cxn ang="0">
                                    <a:pos x="46" y="98"/>
                                  </a:cxn>
                                  <a:cxn ang="0">
                                    <a:pos x="33" y="95"/>
                                  </a:cxn>
                                  <a:cxn ang="0">
                                    <a:pos x="24" y="89"/>
                                  </a:cxn>
                                  <a:cxn ang="0">
                                    <a:pos x="16" y="85"/>
                                  </a:cxn>
                                  <a:cxn ang="0">
                                    <a:pos x="11" y="80"/>
                                  </a:cxn>
                                  <a:cxn ang="0">
                                    <a:pos x="3" y="80"/>
                                  </a:cxn>
                                  <a:cxn ang="0">
                                    <a:pos x="1" y="68"/>
                                  </a:cxn>
                                  <a:cxn ang="0">
                                    <a:pos x="5" y="58"/>
                                  </a:cxn>
                                  <a:cxn ang="0">
                                    <a:pos x="13" y="48"/>
                                  </a:cxn>
                                  <a:cxn ang="0">
                                    <a:pos x="19" y="41"/>
                                  </a:cxn>
                                  <a:cxn ang="0">
                                    <a:pos x="27" y="40"/>
                                  </a:cxn>
                                  <a:cxn ang="0">
                                    <a:pos x="35" y="37"/>
                                  </a:cxn>
                                  <a:cxn ang="0">
                                    <a:pos x="44" y="36"/>
                                  </a:cxn>
                                  <a:cxn ang="0">
                                    <a:pos x="56" y="27"/>
                                  </a:cxn>
                                  <a:cxn ang="0">
                                    <a:pos x="59" y="24"/>
                                  </a:cxn>
                                  <a:cxn ang="0">
                                    <a:pos x="58" y="21"/>
                                  </a:cxn>
                                  <a:cxn ang="0">
                                    <a:pos x="55" y="15"/>
                                  </a:cxn>
                                  <a:cxn ang="0">
                                    <a:pos x="55" y="11"/>
                                  </a:cxn>
                                  <a:cxn ang="0">
                                    <a:pos x="58" y="4"/>
                                  </a:cxn>
                                  <a:cxn ang="0">
                                    <a:pos x="67" y="2"/>
                                  </a:cxn>
                                  <a:cxn ang="0">
                                    <a:pos x="75" y="2"/>
                                  </a:cxn>
                                </a:cxnLst>
                                <a:rect l="0" t="0" r="r" b="b"/>
                                <a:pathLst>
                                  <a:path w="166" h="112">
                                    <a:moveTo>
                                      <a:pt x="75" y="1"/>
                                    </a:moveTo>
                                    <a:lnTo>
                                      <a:pt x="76" y="0"/>
                                    </a:lnTo>
                                    <a:lnTo>
                                      <a:pt x="77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9" y="0"/>
                                    </a:lnTo>
                                    <a:lnTo>
                                      <a:pt x="80" y="0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2"/>
                                    </a:lnTo>
                                    <a:lnTo>
                                      <a:pt x="84" y="2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5" y="4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6"/>
                                    </a:lnTo>
                                    <a:lnTo>
                                      <a:pt x="88" y="6"/>
                                    </a:lnTo>
                                    <a:lnTo>
                                      <a:pt x="89" y="7"/>
                                    </a:lnTo>
                                    <a:lnTo>
                                      <a:pt x="90" y="8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5" y="9"/>
                                    </a:lnTo>
                                    <a:lnTo>
                                      <a:pt x="98" y="9"/>
                                    </a:lnTo>
                                    <a:lnTo>
                                      <a:pt x="102" y="10"/>
                                    </a:lnTo>
                                    <a:lnTo>
                                      <a:pt x="104" y="10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9" y="10"/>
                                    </a:lnTo>
                                    <a:lnTo>
                                      <a:pt x="111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4" y="12"/>
                                    </a:lnTo>
                                    <a:lnTo>
                                      <a:pt x="115" y="12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7" y="13"/>
                                    </a:lnTo>
                                    <a:lnTo>
                                      <a:pt x="117" y="14"/>
                                    </a:lnTo>
                                    <a:lnTo>
                                      <a:pt x="118" y="14"/>
                                    </a:lnTo>
                                    <a:lnTo>
                                      <a:pt x="118" y="15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7"/>
                                    </a:lnTo>
                                    <a:lnTo>
                                      <a:pt x="120" y="18"/>
                                    </a:lnTo>
                                    <a:lnTo>
                                      <a:pt x="120" y="19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2" y="21"/>
                                    </a:lnTo>
                                    <a:lnTo>
                                      <a:pt x="123" y="21"/>
                                    </a:lnTo>
                                    <a:lnTo>
                                      <a:pt x="125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30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3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8" y="19"/>
                                    </a:lnTo>
                                    <a:lnTo>
                                      <a:pt x="138" y="20"/>
                                    </a:lnTo>
                                    <a:lnTo>
                                      <a:pt x="140" y="21"/>
                                    </a:lnTo>
                                    <a:lnTo>
                                      <a:pt x="141" y="22"/>
                                    </a:lnTo>
                                    <a:lnTo>
                                      <a:pt x="142" y="23"/>
                                    </a:lnTo>
                                    <a:lnTo>
                                      <a:pt x="143" y="24"/>
                                    </a:lnTo>
                                    <a:lnTo>
                                      <a:pt x="144" y="24"/>
                                    </a:lnTo>
                                    <a:lnTo>
                                      <a:pt x="145" y="25"/>
                                    </a:lnTo>
                                    <a:lnTo>
                                      <a:pt x="146" y="25"/>
                                    </a:lnTo>
                                    <a:lnTo>
                                      <a:pt x="147" y="25"/>
                                    </a:lnTo>
                                    <a:lnTo>
                                      <a:pt x="148" y="26"/>
                                    </a:lnTo>
                                    <a:lnTo>
                                      <a:pt x="149" y="26"/>
                                    </a:lnTo>
                                    <a:lnTo>
                                      <a:pt x="150" y="26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4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1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4" y="33"/>
                                    </a:lnTo>
                                    <a:lnTo>
                                      <a:pt x="165" y="34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5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7"/>
                                    </a:lnTo>
                                    <a:lnTo>
                                      <a:pt x="164" y="48"/>
                                    </a:lnTo>
                                    <a:lnTo>
                                      <a:pt x="164" y="49"/>
                                    </a:lnTo>
                                    <a:lnTo>
                                      <a:pt x="163" y="50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2"/>
                                    </a:lnTo>
                                    <a:lnTo>
                                      <a:pt x="162" y="53"/>
                                    </a:lnTo>
                                    <a:lnTo>
                                      <a:pt x="162" y="54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1" y="56"/>
                                    </a:lnTo>
                                    <a:lnTo>
                                      <a:pt x="161" y="57"/>
                                    </a:lnTo>
                                    <a:lnTo>
                                      <a:pt x="161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2" y="61"/>
                                    </a:lnTo>
                                    <a:lnTo>
                                      <a:pt x="162" y="62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0" y="66"/>
                                    </a:lnTo>
                                    <a:lnTo>
                                      <a:pt x="160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8" y="67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60" y="70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3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5"/>
                                    </a:lnTo>
                                    <a:lnTo>
                                      <a:pt x="160" y="76"/>
                                    </a:lnTo>
                                    <a:lnTo>
                                      <a:pt x="159" y="76"/>
                                    </a:lnTo>
                                    <a:lnTo>
                                      <a:pt x="157" y="77"/>
                                    </a:lnTo>
                                    <a:lnTo>
                                      <a:pt x="156" y="78"/>
                                    </a:lnTo>
                                    <a:lnTo>
                                      <a:pt x="154" y="78"/>
                                    </a:lnTo>
                                    <a:lnTo>
                                      <a:pt x="153" y="80"/>
                                    </a:lnTo>
                                    <a:lnTo>
                                      <a:pt x="152" y="80"/>
                                    </a:lnTo>
                                    <a:lnTo>
                                      <a:pt x="151" y="81"/>
                                    </a:lnTo>
                                    <a:lnTo>
                                      <a:pt x="149" y="83"/>
                                    </a:lnTo>
                                    <a:lnTo>
                                      <a:pt x="146" y="85"/>
                                    </a:lnTo>
                                    <a:lnTo>
                                      <a:pt x="145" y="86"/>
                                    </a:lnTo>
                                    <a:lnTo>
                                      <a:pt x="144" y="87"/>
                                    </a:lnTo>
                                    <a:lnTo>
                                      <a:pt x="143" y="88"/>
                                    </a:lnTo>
                                    <a:lnTo>
                                      <a:pt x="142" y="89"/>
                                    </a:lnTo>
                                    <a:lnTo>
                                      <a:pt x="141" y="89"/>
                                    </a:lnTo>
                                    <a:lnTo>
                                      <a:pt x="140" y="89"/>
                                    </a:lnTo>
                                    <a:lnTo>
                                      <a:pt x="140" y="90"/>
                                    </a:lnTo>
                                    <a:lnTo>
                                      <a:pt x="139" y="90"/>
                                    </a:lnTo>
                                    <a:lnTo>
                                      <a:pt x="139" y="91"/>
                                    </a:lnTo>
                                    <a:lnTo>
                                      <a:pt x="138" y="91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5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3" y="95"/>
                                    </a:lnTo>
                                    <a:lnTo>
                                      <a:pt x="132" y="95"/>
                                    </a:lnTo>
                                    <a:lnTo>
                                      <a:pt x="132" y="96"/>
                                    </a:lnTo>
                                    <a:lnTo>
                                      <a:pt x="131" y="97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9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8" y="101"/>
                                    </a:lnTo>
                                    <a:lnTo>
                                      <a:pt x="128" y="102"/>
                                    </a:lnTo>
                                    <a:lnTo>
                                      <a:pt x="127" y="102"/>
                                    </a:lnTo>
                                    <a:lnTo>
                                      <a:pt x="126" y="102"/>
                                    </a:lnTo>
                                    <a:lnTo>
                                      <a:pt x="125" y="102"/>
                                    </a:lnTo>
                                    <a:lnTo>
                                      <a:pt x="124" y="102"/>
                                    </a:lnTo>
                                    <a:lnTo>
                                      <a:pt x="123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1" y="102"/>
                                    </a:lnTo>
                                    <a:lnTo>
                                      <a:pt x="120" y="102"/>
                                    </a:lnTo>
                                    <a:lnTo>
                                      <a:pt x="120" y="101"/>
                                    </a:lnTo>
                                    <a:lnTo>
                                      <a:pt x="119" y="101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5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7" y="94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4" y="96"/>
                                    </a:lnTo>
                                    <a:lnTo>
                                      <a:pt x="113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1" y="97"/>
                                    </a:lnTo>
                                    <a:lnTo>
                                      <a:pt x="110" y="97"/>
                                    </a:lnTo>
                                    <a:lnTo>
                                      <a:pt x="109" y="97"/>
                                    </a:lnTo>
                                    <a:lnTo>
                                      <a:pt x="108" y="97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6" y="99"/>
                                    </a:lnTo>
                                    <a:lnTo>
                                      <a:pt x="105" y="100"/>
                                    </a:lnTo>
                                    <a:lnTo>
                                      <a:pt x="105" y="101"/>
                                    </a:lnTo>
                                    <a:lnTo>
                                      <a:pt x="105" y="102"/>
                                    </a:lnTo>
                                    <a:lnTo>
                                      <a:pt x="104" y="103"/>
                                    </a:lnTo>
                                    <a:lnTo>
                                      <a:pt x="104" y="104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1" y="110"/>
                                    </a:lnTo>
                                    <a:lnTo>
                                      <a:pt x="101" y="111"/>
                                    </a:lnTo>
                                    <a:lnTo>
                                      <a:pt x="100" y="112"/>
                                    </a:lnTo>
                                    <a:lnTo>
                                      <a:pt x="98" y="112"/>
                                    </a:lnTo>
                                    <a:lnTo>
                                      <a:pt x="97" y="112"/>
                                    </a:lnTo>
                                    <a:lnTo>
                                      <a:pt x="95" y="112"/>
                                    </a:lnTo>
                                    <a:lnTo>
                                      <a:pt x="94" y="112"/>
                                    </a:lnTo>
                                    <a:lnTo>
                                      <a:pt x="93" y="112"/>
                                    </a:lnTo>
                                    <a:lnTo>
                                      <a:pt x="91" y="112"/>
                                    </a:lnTo>
                                    <a:lnTo>
                                      <a:pt x="89" y="111"/>
                                    </a:lnTo>
                                    <a:lnTo>
                                      <a:pt x="87" y="111"/>
                                    </a:lnTo>
                                    <a:lnTo>
                                      <a:pt x="85" y="111"/>
                                    </a:lnTo>
                                    <a:lnTo>
                                      <a:pt x="84" y="110"/>
                                    </a:lnTo>
                                    <a:lnTo>
                                      <a:pt x="83" y="110"/>
                                    </a:lnTo>
                                    <a:lnTo>
                                      <a:pt x="81" y="110"/>
                                    </a:lnTo>
                                    <a:lnTo>
                                      <a:pt x="80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09"/>
                                    </a:lnTo>
                                    <a:lnTo>
                                      <a:pt x="78" y="108"/>
                                    </a:lnTo>
                                    <a:lnTo>
                                      <a:pt x="77" y="107"/>
                                    </a:lnTo>
                                    <a:lnTo>
                                      <a:pt x="76" y="107"/>
                                    </a:lnTo>
                                    <a:lnTo>
                                      <a:pt x="76" y="106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3"/>
                                    </a:lnTo>
                                    <a:lnTo>
                                      <a:pt x="75" y="102"/>
                                    </a:lnTo>
                                    <a:lnTo>
                                      <a:pt x="74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2" y="102"/>
                                    </a:lnTo>
                                    <a:lnTo>
                                      <a:pt x="71" y="103"/>
                                    </a:lnTo>
                                    <a:lnTo>
                                      <a:pt x="71" y="102"/>
                                    </a:lnTo>
                                    <a:lnTo>
                                      <a:pt x="70" y="102"/>
                                    </a:lnTo>
                                    <a:lnTo>
                                      <a:pt x="69" y="102"/>
                                    </a:lnTo>
                                    <a:lnTo>
                                      <a:pt x="68" y="102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6" y="100"/>
                                    </a:lnTo>
                                    <a:lnTo>
                                      <a:pt x="65" y="99"/>
                                    </a:lnTo>
                                    <a:lnTo>
                                      <a:pt x="64" y="98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6"/>
                                    </a:lnTo>
                                    <a:lnTo>
                                      <a:pt x="62" y="96"/>
                                    </a:lnTo>
                                    <a:lnTo>
                                      <a:pt x="62" y="95"/>
                                    </a:lnTo>
                                    <a:lnTo>
                                      <a:pt x="61" y="95"/>
                                    </a:lnTo>
                                    <a:lnTo>
                                      <a:pt x="60" y="96"/>
                                    </a:lnTo>
                                    <a:lnTo>
                                      <a:pt x="59" y="96"/>
                                    </a:lnTo>
                                    <a:lnTo>
                                      <a:pt x="58" y="96"/>
                                    </a:lnTo>
                                    <a:lnTo>
                                      <a:pt x="58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8"/>
                                    </a:lnTo>
                                    <a:lnTo>
                                      <a:pt x="55" y="99"/>
                                    </a:lnTo>
                                    <a:lnTo>
                                      <a:pt x="54" y="99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2" y="100"/>
                                    </a:lnTo>
                                    <a:lnTo>
                                      <a:pt x="51" y="100"/>
                                    </a:lnTo>
                                    <a:lnTo>
                                      <a:pt x="50" y="100"/>
                                    </a:lnTo>
                                    <a:lnTo>
                                      <a:pt x="49" y="100"/>
                                    </a:lnTo>
                                    <a:lnTo>
                                      <a:pt x="49" y="99"/>
                                    </a:lnTo>
                                    <a:lnTo>
                                      <a:pt x="48" y="99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6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0" y="97"/>
                                    </a:lnTo>
                                    <a:lnTo>
                                      <a:pt x="37" y="97"/>
                                    </a:lnTo>
                                    <a:lnTo>
                                      <a:pt x="35" y="97"/>
                                    </a:lnTo>
                                    <a:lnTo>
                                      <a:pt x="33" y="95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0" y="92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29" y="90"/>
                                    </a:lnTo>
                                    <a:lnTo>
                                      <a:pt x="28" y="89"/>
                                    </a:lnTo>
                                    <a:lnTo>
                                      <a:pt x="27" y="89"/>
                                    </a:lnTo>
                                    <a:lnTo>
                                      <a:pt x="25" y="89"/>
                                    </a:lnTo>
                                    <a:lnTo>
                                      <a:pt x="24" y="89"/>
                                    </a:lnTo>
                                    <a:lnTo>
                                      <a:pt x="22" y="89"/>
                                    </a:lnTo>
                                    <a:lnTo>
                                      <a:pt x="21" y="89"/>
                                    </a:lnTo>
                                    <a:lnTo>
                                      <a:pt x="20" y="88"/>
                                    </a:lnTo>
                                    <a:lnTo>
                                      <a:pt x="19" y="88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7" y="87"/>
                                    </a:lnTo>
                                    <a:lnTo>
                                      <a:pt x="16" y="86"/>
                                    </a:lnTo>
                                    <a:lnTo>
                                      <a:pt x="16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5" y="83"/>
                                    </a:lnTo>
                                    <a:lnTo>
                                      <a:pt x="14" y="83"/>
                                    </a:lnTo>
                                    <a:lnTo>
                                      <a:pt x="14" y="82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2" y="80"/>
                                    </a:lnTo>
                                    <a:lnTo>
                                      <a:pt x="11" y="80"/>
                                    </a:lnTo>
                                    <a:lnTo>
                                      <a:pt x="10" y="80"/>
                                    </a:lnTo>
                                    <a:lnTo>
                                      <a:pt x="8" y="81"/>
                                    </a:lnTo>
                                    <a:lnTo>
                                      <a:pt x="7" y="81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5" y="81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3" y="81"/>
                                    </a:lnTo>
                                    <a:lnTo>
                                      <a:pt x="3" y="80"/>
                                    </a:lnTo>
                                    <a:lnTo>
                                      <a:pt x="2" y="80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2" y="74"/>
                                    </a:lnTo>
                                    <a:lnTo>
                                      <a:pt x="2" y="72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8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3" y="60"/>
                                    </a:lnTo>
                                    <a:lnTo>
                                      <a:pt x="4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6" y="57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2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0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7" y="41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41"/>
                                    </a:lnTo>
                                    <a:lnTo>
                                      <a:pt x="22" y="41"/>
                                    </a:lnTo>
                                    <a:lnTo>
                                      <a:pt x="23" y="41"/>
                                    </a:lnTo>
                                    <a:lnTo>
                                      <a:pt x="24" y="41"/>
                                    </a:lnTo>
                                    <a:lnTo>
                                      <a:pt x="25" y="41"/>
                                    </a:lnTo>
                                    <a:lnTo>
                                      <a:pt x="26" y="41"/>
                                    </a:lnTo>
                                    <a:lnTo>
                                      <a:pt x="27" y="40"/>
                                    </a:lnTo>
                                    <a:lnTo>
                                      <a:pt x="28" y="40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2" y="38"/>
                                    </a:lnTo>
                                    <a:lnTo>
                                      <a:pt x="34" y="38"/>
                                    </a:lnTo>
                                    <a:lnTo>
                                      <a:pt x="34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7" y="37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40" y="36"/>
                                    </a:lnTo>
                                    <a:lnTo>
                                      <a:pt x="42" y="36"/>
                                    </a:lnTo>
                                    <a:lnTo>
                                      <a:pt x="44" y="36"/>
                                    </a:lnTo>
                                    <a:lnTo>
                                      <a:pt x="45" y="35"/>
                                    </a:lnTo>
                                    <a:lnTo>
                                      <a:pt x="46" y="34"/>
                                    </a:lnTo>
                                    <a:lnTo>
                                      <a:pt x="48" y="34"/>
                                    </a:lnTo>
                                    <a:lnTo>
                                      <a:pt x="49" y="33"/>
                                    </a:lnTo>
                                    <a:lnTo>
                                      <a:pt x="50" y="32"/>
                                    </a:lnTo>
                                    <a:lnTo>
                                      <a:pt x="52" y="31"/>
                                    </a:lnTo>
                                    <a:lnTo>
                                      <a:pt x="54" y="29"/>
                                    </a:lnTo>
                                    <a:lnTo>
                                      <a:pt x="56" y="27"/>
                                    </a:lnTo>
                                    <a:lnTo>
                                      <a:pt x="58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8" y="23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1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6" y="19"/>
                                    </a:lnTo>
                                    <a:lnTo>
                                      <a:pt x="56" y="18"/>
                                    </a:lnTo>
                                    <a:lnTo>
                                      <a:pt x="55" y="18"/>
                                    </a:lnTo>
                                    <a:lnTo>
                                      <a:pt x="55" y="17"/>
                                    </a:lnTo>
                                    <a:lnTo>
                                      <a:pt x="55" y="16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9"/>
                                    </a:lnTo>
                                    <a:lnTo>
                                      <a:pt x="55" y="8"/>
                                    </a:lnTo>
                                    <a:lnTo>
                                      <a:pt x="55" y="7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7" y="5"/>
                                    </a:lnTo>
                                    <a:lnTo>
                                      <a:pt x="58" y="4"/>
                                    </a:lnTo>
                                    <a:lnTo>
                                      <a:pt x="59" y="4"/>
                                    </a:lnTo>
                                    <a:lnTo>
                                      <a:pt x="60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2"/>
                                    </a:lnTo>
                                    <a:lnTo>
                                      <a:pt x="65" y="2"/>
                                    </a:lnTo>
                                    <a:lnTo>
                                      <a:pt x="66" y="2"/>
                                    </a:lnTo>
                                    <a:lnTo>
                                      <a:pt x="67" y="2"/>
                                    </a:lnTo>
                                    <a:lnTo>
                                      <a:pt x="69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2" y="2"/>
                                    </a:lnTo>
                                    <a:lnTo>
                                      <a:pt x="73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chemeClr val="accent1">
                                    <a:lumMod val="60000"/>
                                    <a:lumOff val="4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0" name="Freeform 5">
                                <a:extLst>
                                  <a:ext uri="{FF2B5EF4-FFF2-40B4-BE49-F238E27FC236}">
                                    <a16:creationId xmlns:a16="http://schemas.microsoft.com/office/drawing/2014/main" xmlns="" id="{26E63F8E-46AD-4C45-B06C-C9574BDCF42C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23522" y="2317561"/>
                                <a:ext cx="1665880" cy="1040186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0" y="1"/>
                                  </a:cxn>
                                  <a:cxn ang="0">
                                    <a:pos x="111" y="5"/>
                                  </a:cxn>
                                  <a:cxn ang="0">
                                    <a:pos x="113" y="8"/>
                                  </a:cxn>
                                  <a:cxn ang="0">
                                    <a:pos x="122" y="9"/>
                                  </a:cxn>
                                  <a:cxn ang="0">
                                    <a:pos x="126" y="5"/>
                                  </a:cxn>
                                  <a:cxn ang="0">
                                    <a:pos x="131" y="4"/>
                                  </a:cxn>
                                  <a:cxn ang="0">
                                    <a:pos x="133" y="9"/>
                                  </a:cxn>
                                  <a:cxn ang="0">
                                    <a:pos x="135" y="12"/>
                                  </a:cxn>
                                  <a:cxn ang="0">
                                    <a:pos x="139" y="13"/>
                                  </a:cxn>
                                  <a:cxn ang="0">
                                    <a:pos x="148" y="15"/>
                                  </a:cxn>
                                  <a:cxn ang="0">
                                    <a:pos x="153" y="19"/>
                                  </a:cxn>
                                  <a:cxn ang="0">
                                    <a:pos x="157" y="25"/>
                                  </a:cxn>
                                  <a:cxn ang="0">
                                    <a:pos x="162" y="31"/>
                                  </a:cxn>
                                  <a:cxn ang="0">
                                    <a:pos x="166" y="38"/>
                                  </a:cxn>
                                  <a:cxn ang="0">
                                    <a:pos x="164" y="43"/>
                                  </a:cxn>
                                  <a:cxn ang="0">
                                    <a:pos x="166" y="46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8" y="55"/>
                                  </a:cxn>
                                  <a:cxn ang="0">
                                    <a:pos x="162" y="71"/>
                                  </a:cxn>
                                  <a:cxn ang="0">
                                    <a:pos x="145" y="79"/>
                                  </a:cxn>
                                  <a:cxn ang="0">
                                    <a:pos x="138" y="83"/>
                                  </a:cxn>
                                  <a:cxn ang="0">
                                    <a:pos x="128" y="86"/>
                                  </a:cxn>
                                  <a:cxn ang="0">
                                    <a:pos x="121" y="95"/>
                                  </a:cxn>
                                  <a:cxn ang="0">
                                    <a:pos x="111" y="90"/>
                                  </a:cxn>
                                  <a:cxn ang="0">
                                    <a:pos x="105" y="85"/>
                                  </a:cxn>
                                  <a:cxn ang="0">
                                    <a:pos x="90" y="87"/>
                                  </a:cxn>
                                  <a:cxn ang="0">
                                    <a:pos x="72" y="91"/>
                                  </a:cxn>
                                  <a:cxn ang="0">
                                    <a:pos x="61" y="97"/>
                                  </a:cxn>
                                  <a:cxn ang="0">
                                    <a:pos x="43" y="91"/>
                                  </a:cxn>
                                  <a:cxn ang="0">
                                    <a:pos x="26" y="88"/>
                                  </a:cxn>
                                  <a:cxn ang="0">
                                    <a:pos x="18" y="87"/>
                                  </a:cxn>
                                  <a:cxn ang="0">
                                    <a:pos x="5" y="79"/>
                                  </a:cxn>
                                  <a:cxn ang="0">
                                    <a:pos x="0" y="74"/>
                                  </a:cxn>
                                  <a:cxn ang="0">
                                    <a:pos x="3" y="69"/>
                                  </a:cxn>
                                  <a:cxn ang="0">
                                    <a:pos x="6" y="65"/>
                                  </a:cxn>
                                  <a:cxn ang="0">
                                    <a:pos x="11" y="62"/>
                                  </a:cxn>
                                  <a:cxn ang="0">
                                    <a:pos x="16" y="57"/>
                                  </a:cxn>
                                  <a:cxn ang="0">
                                    <a:pos x="14" y="50"/>
                                  </a:cxn>
                                  <a:cxn ang="0">
                                    <a:pos x="14" y="46"/>
                                  </a:cxn>
                                  <a:cxn ang="0">
                                    <a:pos x="16" y="42"/>
                                  </a:cxn>
                                  <a:cxn ang="0">
                                    <a:pos x="17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28" y="32"/>
                                  </a:cxn>
                                  <a:cxn ang="0">
                                    <a:pos x="30" y="24"/>
                                  </a:cxn>
                                  <a:cxn ang="0">
                                    <a:pos x="36" y="27"/>
                                  </a:cxn>
                                  <a:cxn ang="0">
                                    <a:pos x="38" y="31"/>
                                  </a:cxn>
                                  <a:cxn ang="0">
                                    <a:pos x="39" y="39"/>
                                  </a:cxn>
                                  <a:cxn ang="0">
                                    <a:pos x="41" y="43"/>
                                  </a:cxn>
                                  <a:cxn ang="0">
                                    <a:pos x="50" y="45"/>
                                  </a:cxn>
                                  <a:cxn ang="0">
                                    <a:pos x="57" y="44"/>
                                  </a:cxn>
                                  <a:cxn ang="0">
                                    <a:pos x="59" y="44"/>
                                  </a:cxn>
                                  <a:cxn ang="0">
                                    <a:pos x="58" y="40"/>
                                  </a:cxn>
                                  <a:cxn ang="0">
                                    <a:pos x="59" y="37"/>
                                  </a:cxn>
                                  <a:cxn ang="0">
                                    <a:pos x="57" y="34"/>
                                  </a:cxn>
                                  <a:cxn ang="0">
                                    <a:pos x="61" y="23"/>
                                  </a:cxn>
                                  <a:cxn ang="0">
                                    <a:pos x="69" y="20"/>
                                  </a:cxn>
                                  <a:cxn ang="0">
                                    <a:pos x="74" y="19"/>
                                  </a:cxn>
                                  <a:cxn ang="0">
                                    <a:pos x="77" y="12"/>
                                  </a:cxn>
                                  <a:cxn ang="0">
                                    <a:pos x="82" y="13"/>
                                  </a:cxn>
                                  <a:cxn ang="0">
                                    <a:pos x="86" y="10"/>
                                  </a:cxn>
                                  <a:cxn ang="0">
                                    <a:pos x="94" y="8"/>
                                  </a:cxn>
                                  <a:cxn ang="0">
                                    <a:pos x="101" y="2"/>
                                  </a:cxn>
                                </a:cxnLst>
                                <a:rect l="0" t="0" r="r" b="b"/>
                                <a:pathLst>
                                  <a:path w="168" h="97">
                                    <a:moveTo>
                                      <a:pt x="101" y="2"/>
                                    </a:moveTo>
                                    <a:lnTo>
                                      <a:pt x="102" y="2"/>
                                    </a:lnTo>
                                    <a:lnTo>
                                      <a:pt x="102" y="2"/>
                                    </a:lnTo>
                                    <a:lnTo>
                                      <a:pt x="103" y="2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10" y="1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3" y="5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6" y="9"/>
                                    </a:lnTo>
                                    <a:lnTo>
                                      <a:pt x="118" y="9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21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6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8" y="5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30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3" y="5"/>
                                    </a:lnTo>
                                    <a:lnTo>
                                      <a:pt x="133" y="6"/>
                                    </a:lnTo>
                                    <a:lnTo>
                                      <a:pt x="133" y="7"/>
                                    </a:lnTo>
                                    <a:lnTo>
                                      <a:pt x="133" y="8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9" y="13"/>
                                    </a:lnTo>
                                    <a:lnTo>
                                      <a:pt x="139" y="14"/>
                                    </a:lnTo>
                                    <a:lnTo>
                                      <a:pt x="141" y="14"/>
                                    </a:lnTo>
                                    <a:lnTo>
                                      <a:pt x="143" y="14"/>
                                    </a:lnTo>
                                    <a:lnTo>
                                      <a:pt x="144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6"/>
                                    </a:lnTo>
                                    <a:lnTo>
                                      <a:pt x="152" y="16"/>
                                    </a:lnTo>
                                    <a:lnTo>
                                      <a:pt x="152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9"/>
                                    </a:lnTo>
                                    <a:lnTo>
                                      <a:pt x="153" y="19"/>
                                    </a:lnTo>
                                    <a:lnTo>
                                      <a:pt x="153" y="21"/>
                                    </a:lnTo>
                                    <a:lnTo>
                                      <a:pt x="153" y="22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4"/>
                                    </a:lnTo>
                                    <a:lnTo>
                                      <a:pt x="154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9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2" y="30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2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2" y="33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5"/>
                                    </a:lnTo>
                                    <a:lnTo>
                                      <a:pt x="164" y="35"/>
                                    </a:lnTo>
                                    <a:lnTo>
                                      <a:pt x="164" y="36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7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4" y="41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7" y="50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3"/>
                                    </a:lnTo>
                                    <a:lnTo>
                                      <a:pt x="167" y="54"/>
                                    </a:lnTo>
                                    <a:lnTo>
                                      <a:pt x="167" y="55"/>
                                    </a:lnTo>
                                    <a:lnTo>
                                      <a:pt x="168" y="55"/>
                                    </a:lnTo>
                                    <a:lnTo>
                                      <a:pt x="168" y="56"/>
                                    </a:lnTo>
                                    <a:lnTo>
                                      <a:pt x="168" y="57"/>
                                    </a:lnTo>
                                    <a:lnTo>
                                      <a:pt x="168" y="58"/>
                                    </a:lnTo>
                                    <a:lnTo>
                                      <a:pt x="168" y="59"/>
                                    </a:lnTo>
                                    <a:lnTo>
                                      <a:pt x="168" y="60"/>
                                    </a:lnTo>
                                    <a:lnTo>
                                      <a:pt x="168" y="61"/>
                                    </a:lnTo>
                                    <a:lnTo>
                                      <a:pt x="168" y="62"/>
                                    </a:lnTo>
                                    <a:lnTo>
                                      <a:pt x="166" y="65"/>
                                    </a:lnTo>
                                    <a:lnTo>
                                      <a:pt x="164" y="67"/>
                                    </a:lnTo>
                                    <a:lnTo>
                                      <a:pt x="164" y="68"/>
                                    </a:lnTo>
                                    <a:lnTo>
                                      <a:pt x="163" y="70"/>
                                    </a:lnTo>
                                    <a:lnTo>
                                      <a:pt x="162" y="71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58" y="72"/>
                                    </a:lnTo>
                                    <a:lnTo>
                                      <a:pt x="155" y="72"/>
                                    </a:lnTo>
                                    <a:lnTo>
                                      <a:pt x="152" y="72"/>
                                    </a:lnTo>
                                    <a:lnTo>
                                      <a:pt x="149" y="72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7" y="76"/>
                                    </a:lnTo>
                                    <a:lnTo>
                                      <a:pt x="146" y="77"/>
                                    </a:lnTo>
                                    <a:lnTo>
                                      <a:pt x="145" y="79"/>
                                    </a:lnTo>
                                    <a:lnTo>
                                      <a:pt x="144" y="79"/>
                                    </a:lnTo>
                                    <a:lnTo>
                                      <a:pt x="144" y="80"/>
                                    </a:lnTo>
                                    <a:lnTo>
                                      <a:pt x="144" y="81"/>
                                    </a:lnTo>
                                    <a:lnTo>
                                      <a:pt x="143" y="82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2" y="84"/>
                                    </a:lnTo>
                                    <a:lnTo>
                                      <a:pt x="141" y="84"/>
                                    </a:lnTo>
                                    <a:lnTo>
                                      <a:pt x="140" y="84"/>
                                    </a:lnTo>
                                    <a:lnTo>
                                      <a:pt x="139" y="84"/>
                                    </a:lnTo>
                                    <a:lnTo>
                                      <a:pt x="138" y="84"/>
                                    </a:lnTo>
                                    <a:lnTo>
                                      <a:pt x="138" y="83"/>
                                    </a:lnTo>
                                    <a:lnTo>
                                      <a:pt x="136" y="83"/>
                                    </a:lnTo>
                                    <a:lnTo>
                                      <a:pt x="135" y="83"/>
                                    </a:lnTo>
                                    <a:lnTo>
                                      <a:pt x="134" y="82"/>
                                    </a:lnTo>
                                    <a:lnTo>
                                      <a:pt x="132" y="82"/>
                                    </a:lnTo>
                                    <a:lnTo>
                                      <a:pt x="131" y="82"/>
                                    </a:lnTo>
                                    <a:lnTo>
                                      <a:pt x="130" y="82"/>
                                    </a:lnTo>
                                    <a:lnTo>
                                      <a:pt x="130" y="83"/>
                                    </a:lnTo>
                                    <a:lnTo>
                                      <a:pt x="129" y="83"/>
                                    </a:lnTo>
                                    <a:lnTo>
                                      <a:pt x="129" y="84"/>
                                    </a:lnTo>
                                    <a:lnTo>
                                      <a:pt x="128" y="84"/>
                                    </a:lnTo>
                                    <a:lnTo>
                                      <a:pt x="128" y="85"/>
                                    </a:lnTo>
                                    <a:lnTo>
                                      <a:pt x="128" y="86"/>
                                    </a:lnTo>
                                    <a:lnTo>
                                      <a:pt x="128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6" y="87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9"/>
                                    </a:lnTo>
                                    <a:lnTo>
                                      <a:pt x="125" y="91"/>
                                    </a:lnTo>
                                    <a:lnTo>
                                      <a:pt x="123" y="93"/>
                                    </a:lnTo>
                                    <a:lnTo>
                                      <a:pt x="121" y="95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6" y="96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5" y="94"/>
                                    </a:lnTo>
                                    <a:lnTo>
                                      <a:pt x="113" y="93"/>
                                    </a:lnTo>
                                    <a:lnTo>
                                      <a:pt x="112" y="92"/>
                                    </a:lnTo>
                                    <a:lnTo>
                                      <a:pt x="111" y="90"/>
                                    </a:lnTo>
                                    <a:lnTo>
                                      <a:pt x="109" y="89"/>
                                    </a:lnTo>
                                    <a:lnTo>
                                      <a:pt x="109" y="88"/>
                                    </a:lnTo>
                                    <a:lnTo>
                                      <a:pt x="108" y="88"/>
                                    </a:lnTo>
                                    <a:lnTo>
                                      <a:pt x="107" y="87"/>
                                    </a:lnTo>
                                    <a:lnTo>
                                      <a:pt x="106" y="87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5"/>
                                    </a:lnTo>
                                    <a:lnTo>
                                      <a:pt x="101" y="85"/>
                                    </a:lnTo>
                                    <a:lnTo>
                                      <a:pt x="100" y="85"/>
                                    </a:lnTo>
                                    <a:lnTo>
                                      <a:pt x="98" y="85"/>
                                    </a:lnTo>
                                    <a:lnTo>
                                      <a:pt x="97" y="85"/>
                                    </a:lnTo>
                                    <a:lnTo>
                                      <a:pt x="96" y="85"/>
                                    </a:lnTo>
                                    <a:lnTo>
                                      <a:pt x="94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2" y="86"/>
                                    </a:lnTo>
                                    <a:lnTo>
                                      <a:pt x="91" y="86"/>
                                    </a:lnTo>
                                    <a:lnTo>
                                      <a:pt x="90" y="87"/>
                                    </a:lnTo>
                                    <a:lnTo>
                                      <a:pt x="89" y="88"/>
                                    </a:lnTo>
                                    <a:lnTo>
                                      <a:pt x="88" y="88"/>
                                    </a:lnTo>
                                    <a:lnTo>
                                      <a:pt x="88" y="89"/>
                                    </a:lnTo>
                                    <a:lnTo>
                                      <a:pt x="87" y="89"/>
                                    </a:lnTo>
                                    <a:lnTo>
                                      <a:pt x="86" y="90"/>
                                    </a:lnTo>
                                    <a:lnTo>
                                      <a:pt x="83" y="90"/>
                                    </a:lnTo>
                                    <a:lnTo>
                                      <a:pt x="80" y="90"/>
                                    </a:lnTo>
                                    <a:lnTo>
                                      <a:pt x="77" y="90"/>
                                    </a:lnTo>
                                    <a:lnTo>
                                      <a:pt x="74" y="90"/>
                                    </a:lnTo>
                                    <a:lnTo>
                                      <a:pt x="73" y="90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1" y="91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68" y="93"/>
                                    </a:lnTo>
                                    <a:lnTo>
                                      <a:pt x="67" y="94"/>
                                    </a:lnTo>
                                    <a:lnTo>
                                      <a:pt x="67" y="95"/>
                                    </a:lnTo>
                                    <a:lnTo>
                                      <a:pt x="66" y="95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7"/>
                                    </a:lnTo>
                                    <a:lnTo>
                                      <a:pt x="61" y="97"/>
                                    </a:lnTo>
                                    <a:lnTo>
                                      <a:pt x="60" y="97"/>
                                    </a:lnTo>
                                    <a:lnTo>
                                      <a:pt x="59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6"/>
                                    </a:lnTo>
                                    <a:lnTo>
                                      <a:pt x="55" y="96"/>
                                    </a:lnTo>
                                    <a:lnTo>
                                      <a:pt x="54" y="96"/>
                                    </a:lnTo>
                                    <a:lnTo>
                                      <a:pt x="53" y="96"/>
                                    </a:lnTo>
                                    <a:lnTo>
                                      <a:pt x="50" y="95"/>
                                    </a:lnTo>
                                    <a:lnTo>
                                      <a:pt x="49" y="94"/>
                                    </a:lnTo>
                                    <a:lnTo>
                                      <a:pt x="47" y="93"/>
                                    </a:lnTo>
                                    <a:lnTo>
                                      <a:pt x="45" y="92"/>
                                    </a:lnTo>
                                    <a:lnTo>
                                      <a:pt x="43" y="91"/>
                                    </a:lnTo>
                                    <a:lnTo>
                                      <a:pt x="41" y="91"/>
                                    </a:lnTo>
                                    <a:lnTo>
                                      <a:pt x="39" y="90"/>
                                    </a:lnTo>
                                    <a:lnTo>
                                      <a:pt x="37" y="89"/>
                                    </a:lnTo>
                                    <a:lnTo>
                                      <a:pt x="36" y="89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3" y="88"/>
                                    </a:lnTo>
                                    <a:lnTo>
                                      <a:pt x="32" y="88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29" y="88"/>
                                    </a:lnTo>
                                    <a:lnTo>
                                      <a:pt x="28" y="88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6" y="88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3" y="86"/>
                                    </a:lnTo>
                                    <a:lnTo>
                                      <a:pt x="22" y="87"/>
                                    </a:lnTo>
                                    <a:lnTo>
                                      <a:pt x="20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8" y="87"/>
                                    </a:lnTo>
                                    <a:lnTo>
                                      <a:pt x="8" y="86"/>
                                    </a:lnTo>
                                    <a:lnTo>
                                      <a:pt x="8" y="85"/>
                                    </a:lnTo>
                                    <a:lnTo>
                                      <a:pt x="8" y="84"/>
                                    </a:lnTo>
                                    <a:lnTo>
                                      <a:pt x="8" y="83"/>
                                    </a:lnTo>
                                    <a:lnTo>
                                      <a:pt x="7" y="83"/>
                                    </a:lnTo>
                                    <a:lnTo>
                                      <a:pt x="7" y="82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5" y="80"/>
                                    </a:lnTo>
                                    <a:lnTo>
                                      <a:pt x="5" y="79"/>
                                    </a:lnTo>
                                    <a:lnTo>
                                      <a:pt x="4" y="79"/>
                                    </a:lnTo>
                                    <a:lnTo>
                                      <a:pt x="3" y="79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3"/>
                                    </a:lnTo>
                                    <a:lnTo>
                                      <a:pt x="1" y="73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4" y="69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5"/>
                                    </a:lnTo>
                                    <a:lnTo>
                                      <a:pt x="6" y="65"/>
                                    </a:lnTo>
                                    <a:lnTo>
                                      <a:pt x="6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9" y="64"/>
                                    </a:lnTo>
                                    <a:lnTo>
                                      <a:pt x="10" y="64"/>
                                    </a:lnTo>
                                    <a:lnTo>
                                      <a:pt x="10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2" y="62"/>
                                    </a:lnTo>
                                    <a:lnTo>
                                      <a:pt x="12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6" y="58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6"/>
                                    </a:lnTo>
                                    <a:lnTo>
                                      <a:pt x="17" y="55"/>
                                    </a:lnTo>
                                    <a:lnTo>
                                      <a:pt x="16" y="55"/>
                                    </a:lnTo>
                                    <a:lnTo>
                                      <a:pt x="16" y="54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5" y="51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4" y="47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7" y="38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8" y="37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1" y="37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5" y="35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28" y="30"/>
                                    </a:lnTo>
                                    <a:lnTo>
                                      <a:pt x="28" y="29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5"/>
                                    </a:lnTo>
                                    <a:lnTo>
                                      <a:pt x="29" y="25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1" y="24"/>
                                    </a:lnTo>
                                    <a:lnTo>
                                      <a:pt x="32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4" y="24"/>
                                    </a:lnTo>
                                    <a:lnTo>
                                      <a:pt x="35" y="25"/>
                                    </a:lnTo>
                                    <a:lnTo>
                                      <a:pt x="36" y="25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7" y="28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4"/>
                                    </a:lnTo>
                                    <a:lnTo>
                                      <a:pt x="39" y="35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5" y="45"/>
                                    </a:lnTo>
                                    <a:lnTo>
                                      <a:pt x="49" y="45"/>
                                    </a:lnTo>
                                    <a:lnTo>
                                      <a:pt x="50" y="45"/>
                                    </a:lnTo>
                                    <a:lnTo>
                                      <a:pt x="51" y="45"/>
                                    </a:lnTo>
                                    <a:lnTo>
                                      <a:pt x="52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6" y="44"/>
                                    </a:lnTo>
                                    <a:lnTo>
                                      <a:pt x="57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9" y="45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60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9" y="40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60" y="24"/>
                                    </a:lnTo>
                                    <a:lnTo>
                                      <a:pt x="60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0"/>
                                    </a:lnTo>
                                    <a:lnTo>
                                      <a:pt x="69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7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7" y="12"/>
                                    </a:lnTo>
                                    <a:lnTo>
                                      <a:pt x="78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80" y="12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3" y="13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6" y="10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1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5" y="7"/>
                                    </a:lnTo>
                                    <a:lnTo>
                                      <a:pt x="96" y="7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2"/>
                                    </a:lnTo>
                                    <a:lnTo>
                                      <a:pt x="101" y="2"/>
                                    </a:lnTo>
                                    <a:lnTo>
                                      <a:pt x="101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accent1">
                                    <a:lumMod val="20000"/>
                                    <a:lumOff val="8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1" name="Freeform 6">
                                <a:extLst>
                                  <a:ext uri="{FF2B5EF4-FFF2-40B4-BE49-F238E27FC236}">
                                    <a16:creationId xmlns:a16="http://schemas.microsoft.com/office/drawing/2014/main" xmlns="" id="{3B57E989-2DA6-4708-B8D4-99EDD7991E20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6403292" y="2404017"/>
                                <a:ext cx="1984289" cy="184184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5" y="46"/>
                                  </a:cxn>
                                  <a:cxn ang="0">
                                    <a:pos x="15" y="28"/>
                                  </a:cxn>
                                  <a:cxn ang="0">
                                    <a:pos x="19" y="11"/>
                                  </a:cxn>
                                  <a:cxn ang="0">
                                    <a:pos x="33" y="2"/>
                                  </a:cxn>
                                  <a:cxn ang="0">
                                    <a:pos x="37" y="9"/>
                                  </a:cxn>
                                  <a:cxn ang="0">
                                    <a:pos x="42" y="15"/>
                                  </a:cxn>
                                  <a:cxn ang="0">
                                    <a:pos x="46" y="22"/>
                                  </a:cxn>
                                  <a:cxn ang="0">
                                    <a:pos x="51" y="28"/>
                                  </a:cxn>
                                  <a:cxn ang="0">
                                    <a:pos x="61" y="20"/>
                                  </a:cxn>
                                  <a:cxn ang="0">
                                    <a:pos x="61" y="13"/>
                                  </a:cxn>
                                  <a:cxn ang="0">
                                    <a:pos x="65" y="11"/>
                                  </a:cxn>
                                  <a:cxn ang="0">
                                    <a:pos x="70" y="13"/>
                                  </a:cxn>
                                  <a:cxn ang="0">
                                    <a:pos x="72" y="18"/>
                                  </a:cxn>
                                  <a:cxn ang="0">
                                    <a:pos x="77" y="21"/>
                                  </a:cxn>
                                  <a:cxn ang="0">
                                    <a:pos x="83" y="24"/>
                                  </a:cxn>
                                  <a:cxn ang="0">
                                    <a:pos x="92" y="21"/>
                                  </a:cxn>
                                  <a:cxn ang="0">
                                    <a:pos x="104" y="16"/>
                                  </a:cxn>
                                  <a:cxn ang="0">
                                    <a:pos x="111" y="14"/>
                                  </a:cxn>
                                  <a:cxn ang="0">
                                    <a:pos x="114" y="11"/>
                                  </a:cxn>
                                  <a:cxn ang="0">
                                    <a:pos x="124" y="12"/>
                                  </a:cxn>
                                  <a:cxn ang="0">
                                    <a:pos x="131" y="18"/>
                                  </a:cxn>
                                  <a:cxn ang="0">
                                    <a:pos x="134" y="23"/>
                                  </a:cxn>
                                  <a:cxn ang="0">
                                    <a:pos x="137" y="28"/>
                                  </a:cxn>
                                  <a:cxn ang="0">
                                    <a:pos x="146" y="30"/>
                                  </a:cxn>
                                  <a:cxn ang="0">
                                    <a:pos x="152" y="33"/>
                                  </a:cxn>
                                  <a:cxn ang="0">
                                    <a:pos x="155" y="38"/>
                                  </a:cxn>
                                  <a:cxn ang="0">
                                    <a:pos x="160" y="41"/>
                                  </a:cxn>
                                  <a:cxn ang="0">
                                    <a:pos x="176" y="43"/>
                                  </a:cxn>
                                  <a:cxn ang="0">
                                    <a:pos x="183" y="41"/>
                                  </a:cxn>
                                  <a:cxn ang="0">
                                    <a:pos x="189" y="34"/>
                                  </a:cxn>
                                  <a:cxn ang="0">
                                    <a:pos x="192" y="39"/>
                                  </a:cxn>
                                  <a:cxn ang="0">
                                    <a:pos x="200" y="46"/>
                                  </a:cxn>
                                  <a:cxn ang="0">
                                    <a:pos x="194" y="53"/>
                                  </a:cxn>
                                  <a:cxn ang="0">
                                    <a:pos x="193" y="68"/>
                                  </a:cxn>
                                  <a:cxn ang="0">
                                    <a:pos x="180" y="99"/>
                                  </a:cxn>
                                  <a:cxn ang="0">
                                    <a:pos x="183" y="103"/>
                                  </a:cxn>
                                  <a:cxn ang="0">
                                    <a:pos x="186" y="107"/>
                                  </a:cxn>
                                  <a:cxn ang="0">
                                    <a:pos x="179" y="119"/>
                                  </a:cxn>
                                  <a:cxn ang="0">
                                    <a:pos x="175" y="123"/>
                                  </a:cxn>
                                  <a:cxn ang="0">
                                    <a:pos x="169" y="124"/>
                                  </a:cxn>
                                  <a:cxn ang="0">
                                    <a:pos x="162" y="122"/>
                                  </a:cxn>
                                  <a:cxn ang="0">
                                    <a:pos x="157" y="125"/>
                                  </a:cxn>
                                  <a:cxn ang="0">
                                    <a:pos x="144" y="125"/>
                                  </a:cxn>
                                  <a:cxn ang="0">
                                    <a:pos x="132" y="124"/>
                                  </a:cxn>
                                  <a:cxn ang="0">
                                    <a:pos x="131" y="138"/>
                                  </a:cxn>
                                  <a:cxn ang="0">
                                    <a:pos x="129" y="159"/>
                                  </a:cxn>
                                  <a:cxn ang="0">
                                    <a:pos x="124" y="169"/>
                                  </a:cxn>
                                  <a:cxn ang="0">
                                    <a:pos x="110" y="150"/>
                                  </a:cxn>
                                  <a:cxn ang="0">
                                    <a:pos x="93" y="146"/>
                                  </a:cxn>
                                  <a:cxn ang="0">
                                    <a:pos x="70" y="140"/>
                                  </a:cxn>
                                  <a:cxn ang="0">
                                    <a:pos x="64" y="143"/>
                                  </a:cxn>
                                  <a:cxn ang="0">
                                    <a:pos x="39" y="138"/>
                                  </a:cxn>
                                  <a:cxn ang="0">
                                    <a:pos x="20" y="143"/>
                                  </a:cxn>
                                  <a:cxn ang="0">
                                    <a:pos x="9" y="147"/>
                                  </a:cxn>
                                  <a:cxn ang="0">
                                    <a:pos x="12" y="125"/>
                                  </a:cxn>
                                  <a:cxn ang="0">
                                    <a:pos x="8" y="114"/>
                                  </a:cxn>
                                  <a:cxn ang="0">
                                    <a:pos x="9" y="103"/>
                                  </a:cxn>
                                  <a:cxn ang="0">
                                    <a:pos x="9" y="97"/>
                                  </a:cxn>
                                  <a:cxn ang="0">
                                    <a:pos x="6" y="80"/>
                                  </a:cxn>
                                  <a:cxn ang="0">
                                    <a:pos x="0" y="67"/>
                                  </a:cxn>
                                  <a:cxn ang="0">
                                    <a:pos x="5" y="59"/>
                                  </a:cxn>
                                </a:cxnLst>
                                <a:rect l="0" t="0" r="r" b="b"/>
                                <a:pathLst>
                                  <a:path w="200" h="172">
                                    <a:moveTo>
                                      <a:pt x="11" y="52"/>
                                    </a:moveTo>
                                    <a:lnTo>
                                      <a:pt x="12" y="52"/>
                                    </a:lnTo>
                                    <a:lnTo>
                                      <a:pt x="14" y="52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8" y="52"/>
                                    </a:lnTo>
                                    <a:lnTo>
                                      <a:pt x="19" y="51"/>
                                    </a:lnTo>
                                    <a:lnTo>
                                      <a:pt x="20" y="51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2" y="49"/>
                                    </a:lnTo>
                                    <a:lnTo>
                                      <a:pt x="23" y="48"/>
                                    </a:lnTo>
                                    <a:lnTo>
                                      <a:pt x="24" y="48"/>
                                    </a:lnTo>
                                    <a:lnTo>
                                      <a:pt x="24" y="47"/>
                                    </a:lnTo>
                                    <a:lnTo>
                                      <a:pt x="25" y="46"/>
                                    </a:lnTo>
                                    <a:lnTo>
                                      <a:pt x="25" y="45"/>
                                    </a:lnTo>
                                    <a:lnTo>
                                      <a:pt x="26" y="44"/>
                                    </a:lnTo>
                                    <a:lnTo>
                                      <a:pt x="26" y="43"/>
                                    </a:lnTo>
                                    <a:lnTo>
                                      <a:pt x="25" y="42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5" y="39"/>
                                    </a:lnTo>
                                    <a:lnTo>
                                      <a:pt x="24" y="38"/>
                                    </a:lnTo>
                                    <a:lnTo>
                                      <a:pt x="23" y="37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2" y="34"/>
                                    </a:lnTo>
                                    <a:lnTo>
                                      <a:pt x="21" y="33"/>
                                    </a:lnTo>
                                    <a:lnTo>
                                      <a:pt x="19" y="31"/>
                                    </a:lnTo>
                                    <a:lnTo>
                                      <a:pt x="17" y="30"/>
                                    </a:lnTo>
                                    <a:lnTo>
                                      <a:pt x="16" y="29"/>
                                    </a:lnTo>
                                    <a:lnTo>
                                      <a:pt x="15" y="28"/>
                                    </a:lnTo>
                                    <a:lnTo>
                                      <a:pt x="15" y="27"/>
                                    </a:lnTo>
                                    <a:lnTo>
                                      <a:pt x="14" y="25"/>
                                    </a:lnTo>
                                    <a:lnTo>
                                      <a:pt x="14" y="24"/>
                                    </a:lnTo>
                                    <a:lnTo>
                                      <a:pt x="14" y="23"/>
                                    </a:lnTo>
                                    <a:lnTo>
                                      <a:pt x="14" y="22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8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6"/>
                                    </a:lnTo>
                                    <a:lnTo>
                                      <a:pt x="16" y="15"/>
                                    </a:lnTo>
                                    <a:lnTo>
                                      <a:pt x="17" y="13"/>
                                    </a:lnTo>
                                    <a:lnTo>
                                      <a:pt x="18" y="12"/>
                                    </a:lnTo>
                                    <a:lnTo>
                                      <a:pt x="19" y="11"/>
                                    </a:lnTo>
                                    <a:lnTo>
                                      <a:pt x="20" y="9"/>
                                    </a:lnTo>
                                    <a:lnTo>
                                      <a:pt x="21" y="8"/>
                                    </a:lnTo>
                                    <a:lnTo>
                                      <a:pt x="22" y="7"/>
                                    </a:lnTo>
                                    <a:lnTo>
                                      <a:pt x="24" y="5"/>
                                    </a:lnTo>
                                    <a:lnTo>
                                      <a:pt x="25" y="4"/>
                                    </a:lnTo>
                                    <a:lnTo>
                                      <a:pt x="26" y="3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1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3"/>
                                    </a:lnTo>
                                    <a:lnTo>
                                      <a:pt x="34" y="4"/>
                                    </a:lnTo>
                                    <a:lnTo>
                                      <a:pt x="34" y="5"/>
                                    </a:lnTo>
                                    <a:lnTo>
                                      <a:pt x="35" y="6"/>
                                    </a:lnTo>
                                    <a:lnTo>
                                      <a:pt x="35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1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1" y="14"/>
                                    </a:lnTo>
                                    <a:lnTo>
                                      <a:pt x="40" y="14"/>
                                    </a:lnTo>
                                    <a:lnTo>
                                      <a:pt x="40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20"/>
                                    </a:lnTo>
                                    <a:lnTo>
                                      <a:pt x="46" y="20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6" y="21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3"/>
                                    </a:lnTo>
                                    <a:lnTo>
                                      <a:pt x="48" y="23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1" y="27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3" y="28"/>
                                    </a:lnTo>
                                    <a:lnTo>
                                      <a:pt x="55" y="27"/>
                                    </a:lnTo>
                                    <a:lnTo>
                                      <a:pt x="56" y="26"/>
                                    </a:lnTo>
                                    <a:lnTo>
                                      <a:pt x="57" y="25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3"/>
                                    </a:lnTo>
                                    <a:lnTo>
                                      <a:pt x="60" y="22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2" y="20"/>
                                    </a:lnTo>
                                    <a:lnTo>
                                      <a:pt x="62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1" y="17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0" y="15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7" y="19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80" y="24"/>
                                    </a:lnTo>
                                    <a:lnTo>
                                      <a:pt x="81" y="24"/>
                                    </a:lnTo>
                                    <a:lnTo>
                                      <a:pt x="82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4" y="24"/>
                                    </a:lnTo>
                                    <a:lnTo>
                                      <a:pt x="85" y="24"/>
                                    </a:lnTo>
                                    <a:lnTo>
                                      <a:pt x="86" y="24"/>
                                    </a:lnTo>
                                    <a:lnTo>
                                      <a:pt x="87" y="24"/>
                                    </a:lnTo>
                                    <a:lnTo>
                                      <a:pt x="88" y="23"/>
                                    </a:lnTo>
                                    <a:lnTo>
                                      <a:pt x="89" y="23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0"/>
                                    </a:lnTo>
                                    <a:lnTo>
                                      <a:pt x="94" y="21"/>
                                    </a:lnTo>
                                    <a:lnTo>
                                      <a:pt x="95" y="21"/>
                                    </a:lnTo>
                                    <a:lnTo>
                                      <a:pt x="96" y="21"/>
                                    </a:lnTo>
                                    <a:lnTo>
                                      <a:pt x="97" y="21"/>
                                    </a:lnTo>
                                    <a:lnTo>
                                      <a:pt x="98" y="20"/>
                                    </a:lnTo>
                                    <a:lnTo>
                                      <a:pt x="99" y="20"/>
                                    </a:lnTo>
                                    <a:lnTo>
                                      <a:pt x="100" y="20"/>
                                    </a:lnTo>
                                    <a:lnTo>
                                      <a:pt x="100" y="19"/>
                                    </a:lnTo>
                                    <a:lnTo>
                                      <a:pt x="101" y="19"/>
                                    </a:lnTo>
                                    <a:lnTo>
                                      <a:pt x="102" y="18"/>
                                    </a:lnTo>
                                    <a:lnTo>
                                      <a:pt x="103" y="17"/>
                                    </a:lnTo>
                                    <a:lnTo>
                                      <a:pt x="104" y="16"/>
                                    </a:lnTo>
                                    <a:lnTo>
                                      <a:pt x="105" y="16"/>
                                    </a:lnTo>
                                    <a:lnTo>
                                      <a:pt x="106" y="15"/>
                                    </a:lnTo>
                                    <a:lnTo>
                                      <a:pt x="106" y="16"/>
                                    </a:lnTo>
                                    <a:lnTo>
                                      <a:pt x="107" y="16"/>
                                    </a:lnTo>
                                    <a:lnTo>
                                      <a:pt x="107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6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1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4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8" y="13"/>
                                    </a:lnTo>
                                    <a:lnTo>
                                      <a:pt x="128" y="14"/>
                                    </a:lnTo>
                                    <a:lnTo>
                                      <a:pt x="129" y="14"/>
                                    </a:lnTo>
                                    <a:lnTo>
                                      <a:pt x="129" y="15"/>
                                    </a:lnTo>
                                    <a:lnTo>
                                      <a:pt x="130" y="16"/>
                                    </a:lnTo>
                                    <a:lnTo>
                                      <a:pt x="131" y="17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1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6"/>
                                    </a:lnTo>
                                    <a:lnTo>
                                      <a:pt x="137" y="26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9" y="29"/>
                                    </a:lnTo>
                                    <a:lnTo>
                                      <a:pt x="140" y="29"/>
                                    </a:lnTo>
                                    <a:lnTo>
                                      <a:pt x="142" y="29"/>
                                    </a:lnTo>
                                    <a:lnTo>
                                      <a:pt x="144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8" y="30"/>
                                    </a:lnTo>
                                    <a:lnTo>
                                      <a:pt x="149" y="30"/>
                                    </a:lnTo>
                                    <a:lnTo>
                                      <a:pt x="150" y="30"/>
                                    </a:lnTo>
                                    <a:lnTo>
                                      <a:pt x="151" y="30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1" y="31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3" y="33"/>
                                    </a:lnTo>
                                    <a:lnTo>
                                      <a:pt x="153" y="34"/>
                                    </a:lnTo>
                                    <a:lnTo>
                                      <a:pt x="153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9" y="40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1" y="42"/>
                                    </a:lnTo>
                                    <a:lnTo>
                                      <a:pt x="162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6" y="42"/>
                                    </a:lnTo>
                                    <a:lnTo>
                                      <a:pt x="168" y="42"/>
                                    </a:lnTo>
                                    <a:lnTo>
                                      <a:pt x="171" y="42"/>
                                    </a:lnTo>
                                    <a:lnTo>
                                      <a:pt x="173" y="42"/>
                                    </a:lnTo>
                                    <a:lnTo>
                                      <a:pt x="174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8" y="42"/>
                                    </a:lnTo>
                                    <a:lnTo>
                                      <a:pt x="179" y="42"/>
                                    </a:lnTo>
                                    <a:lnTo>
                                      <a:pt x="180" y="42"/>
                                    </a:lnTo>
                                    <a:lnTo>
                                      <a:pt x="181" y="42"/>
                                    </a:lnTo>
                                    <a:lnTo>
                                      <a:pt x="182" y="42"/>
                                    </a:lnTo>
                                    <a:lnTo>
                                      <a:pt x="182" y="41"/>
                                    </a:lnTo>
                                    <a:lnTo>
                                      <a:pt x="183" y="41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5" y="39"/>
                                    </a:lnTo>
                                    <a:lnTo>
                                      <a:pt x="185" y="38"/>
                                    </a:lnTo>
                                    <a:lnTo>
                                      <a:pt x="186" y="37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8" y="36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9" y="35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7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1" y="38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5" y="40"/>
                                    </a:lnTo>
                                    <a:lnTo>
                                      <a:pt x="196" y="41"/>
                                    </a:lnTo>
                                    <a:lnTo>
                                      <a:pt x="197" y="41"/>
                                    </a:lnTo>
                                    <a:lnTo>
                                      <a:pt x="197" y="42"/>
                                    </a:lnTo>
                                    <a:lnTo>
                                      <a:pt x="198" y="43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200" y="46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199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5" y="49"/>
                                    </a:lnTo>
                                    <a:lnTo>
                                      <a:pt x="195" y="50"/>
                                    </a:lnTo>
                                    <a:lnTo>
                                      <a:pt x="194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4" y="53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5" y="55"/>
                                    </a:lnTo>
                                    <a:lnTo>
                                      <a:pt x="196" y="56"/>
                                    </a:lnTo>
                                    <a:lnTo>
                                      <a:pt x="196" y="58"/>
                                    </a:lnTo>
                                    <a:lnTo>
                                      <a:pt x="197" y="58"/>
                                    </a:lnTo>
                                    <a:lnTo>
                                      <a:pt x="197" y="59"/>
                                    </a:lnTo>
                                    <a:lnTo>
                                      <a:pt x="197" y="60"/>
                                    </a:lnTo>
                                    <a:lnTo>
                                      <a:pt x="197" y="61"/>
                                    </a:lnTo>
                                    <a:lnTo>
                                      <a:pt x="198" y="62"/>
                                    </a:lnTo>
                                    <a:lnTo>
                                      <a:pt x="198" y="63"/>
                                    </a:lnTo>
                                    <a:lnTo>
                                      <a:pt x="197" y="64"/>
                                    </a:lnTo>
                                    <a:lnTo>
                                      <a:pt x="197" y="65"/>
                                    </a:lnTo>
                                    <a:lnTo>
                                      <a:pt x="195" y="67"/>
                                    </a:lnTo>
                                    <a:lnTo>
                                      <a:pt x="193" y="68"/>
                                    </a:lnTo>
                                    <a:lnTo>
                                      <a:pt x="188" y="71"/>
                                    </a:lnTo>
                                    <a:lnTo>
                                      <a:pt x="186" y="72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79" y="75"/>
                                    </a:lnTo>
                                    <a:lnTo>
                                      <a:pt x="179" y="79"/>
                                    </a:lnTo>
                                    <a:lnTo>
                                      <a:pt x="179" y="82"/>
                                    </a:lnTo>
                                    <a:lnTo>
                                      <a:pt x="179" y="85"/>
                                    </a:lnTo>
                                    <a:lnTo>
                                      <a:pt x="179" y="88"/>
                                    </a:lnTo>
                                    <a:lnTo>
                                      <a:pt x="179" y="91"/>
                                    </a:lnTo>
                                    <a:lnTo>
                                      <a:pt x="179" y="93"/>
                                    </a:lnTo>
                                    <a:lnTo>
                                      <a:pt x="180" y="96"/>
                                    </a:lnTo>
                                    <a:lnTo>
                                      <a:pt x="181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6" y="107"/>
                                    </a:lnTo>
                                    <a:lnTo>
                                      <a:pt x="186" y="109"/>
                                    </a:lnTo>
                                    <a:lnTo>
                                      <a:pt x="186" y="111"/>
                                    </a:lnTo>
                                    <a:lnTo>
                                      <a:pt x="186" y="113"/>
                                    </a:lnTo>
                                    <a:lnTo>
                                      <a:pt x="186" y="115"/>
                                    </a:lnTo>
                                    <a:lnTo>
                                      <a:pt x="185" y="115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3" y="116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8"/>
                                    </a:lnTo>
                                    <a:lnTo>
                                      <a:pt x="182" y="119"/>
                                    </a:lnTo>
                                    <a:lnTo>
                                      <a:pt x="181" y="119"/>
                                    </a:lnTo>
                                    <a:lnTo>
                                      <a:pt x="180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4" y="124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5"/>
                                    </a:lnTo>
                                    <a:lnTo>
                                      <a:pt x="170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8" y="123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7" y="122"/>
                                    </a:lnTo>
                                    <a:lnTo>
                                      <a:pt x="166" y="122"/>
                                    </a:lnTo>
                                    <a:lnTo>
                                      <a:pt x="165" y="122"/>
                                    </a:lnTo>
                                    <a:lnTo>
                                      <a:pt x="164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4"/>
                                    </a:lnTo>
                                    <a:lnTo>
                                      <a:pt x="161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59" y="124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3" y="125"/>
                                    </a:lnTo>
                                    <a:lnTo>
                                      <a:pt x="152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6"/>
                                    </a:lnTo>
                                    <a:lnTo>
                                      <a:pt x="147" y="126"/>
                                    </a:lnTo>
                                    <a:lnTo>
                                      <a:pt x="146" y="125"/>
                                    </a:lnTo>
                                    <a:lnTo>
                                      <a:pt x="145" y="125"/>
                                    </a:lnTo>
                                    <a:lnTo>
                                      <a:pt x="144" y="125"/>
                                    </a:lnTo>
                                    <a:lnTo>
                                      <a:pt x="143" y="125"/>
                                    </a:lnTo>
                                    <a:lnTo>
                                      <a:pt x="142" y="124"/>
                                    </a:lnTo>
                                    <a:lnTo>
                                      <a:pt x="141" y="124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38" y="123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6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3" y="123"/>
                                    </a:lnTo>
                                    <a:lnTo>
                                      <a:pt x="133" y="124"/>
                                    </a:lnTo>
                                    <a:lnTo>
                                      <a:pt x="132" y="124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6"/>
                                    </a:lnTo>
                                    <a:lnTo>
                                      <a:pt x="132" y="127"/>
                                    </a:lnTo>
                                    <a:lnTo>
                                      <a:pt x="132" y="129"/>
                                    </a:lnTo>
                                    <a:lnTo>
                                      <a:pt x="132" y="130"/>
                                    </a:lnTo>
                                    <a:lnTo>
                                      <a:pt x="132" y="132"/>
                                    </a:lnTo>
                                    <a:lnTo>
                                      <a:pt x="132" y="134"/>
                                    </a:lnTo>
                                    <a:lnTo>
                                      <a:pt x="132" y="135"/>
                                    </a:lnTo>
                                    <a:lnTo>
                                      <a:pt x="132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4"/>
                                    </a:lnTo>
                                    <a:lnTo>
                                      <a:pt x="131" y="149"/>
                                    </a:lnTo>
                                    <a:lnTo>
                                      <a:pt x="131" y="153"/>
                                    </a:lnTo>
                                    <a:lnTo>
                                      <a:pt x="131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2"/>
                                    </a:lnTo>
                                    <a:lnTo>
                                      <a:pt x="129" y="163"/>
                                    </a:lnTo>
                                    <a:lnTo>
                                      <a:pt x="129" y="166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9" y="170"/>
                                    </a:lnTo>
                                    <a:lnTo>
                                      <a:pt x="129" y="172"/>
                                    </a:lnTo>
                                    <a:lnTo>
                                      <a:pt x="128" y="172"/>
                                    </a:lnTo>
                                    <a:lnTo>
                                      <a:pt x="127" y="172"/>
                                    </a:lnTo>
                                    <a:lnTo>
                                      <a:pt x="126" y="171"/>
                                    </a:lnTo>
                                    <a:lnTo>
                                      <a:pt x="125" y="171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0" y="164"/>
                                    </a:lnTo>
                                    <a:lnTo>
                                      <a:pt x="118" y="162"/>
                                    </a:lnTo>
                                    <a:lnTo>
                                      <a:pt x="116" y="159"/>
                                    </a:lnTo>
                                    <a:lnTo>
                                      <a:pt x="114" y="156"/>
                                    </a:lnTo>
                                    <a:lnTo>
                                      <a:pt x="112" y="153"/>
                                    </a:lnTo>
                                    <a:lnTo>
                                      <a:pt x="110" y="150"/>
                                    </a:lnTo>
                                    <a:lnTo>
                                      <a:pt x="109" y="148"/>
                                    </a:lnTo>
                                    <a:lnTo>
                                      <a:pt x="109" y="147"/>
                                    </a:lnTo>
                                    <a:lnTo>
                                      <a:pt x="108" y="145"/>
                                    </a:lnTo>
                                    <a:lnTo>
                                      <a:pt x="107" y="144"/>
                                    </a:lnTo>
                                    <a:lnTo>
                                      <a:pt x="106" y="144"/>
                                    </a:lnTo>
                                    <a:lnTo>
                                      <a:pt x="105" y="144"/>
                                    </a:lnTo>
                                    <a:lnTo>
                                      <a:pt x="104" y="145"/>
                                    </a:lnTo>
                                    <a:lnTo>
                                      <a:pt x="103" y="145"/>
                                    </a:lnTo>
                                    <a:lnTo>
                                      <a:pt x="102" y="145"/>
                                    </a:lnTo>
                                    <a:lnTo>
                                      <a:pt x="101" y="145"/>
                                    </a:lnTo>
                                    <a:lnTo>
                                      <a:pt x="100" y="146"/>
                                    </a:lnTo>
                                    <a:lnTo>
                                      <a:pt x="99" y="146"/>
                                    </a:lnTo>
                                    <a:lnTo>
                                      <a:pt x="97" y="146"/>
                                    </a:lnTo>
                                    <a:lnTo>
                                      <a:pt x="95" y="146"/>
                                    </a:lnTo>
                                    <a:lnTo>
                                      <a:pt x="93" y="146"/>
                                    </a:lnTo>
                                    <a:lnTo>
                                      <a:pt x="90" y="145"/>
                                    </a:lnTo>
                                    <a:lnTo>
                                      <a:pt x="88" y="145"/>
                                    </a:lnTo>
                                    <a:lnTo>
                                      <a:pt x="86" y="144"/>
                                    </a:lnTo>
                                    <a:lnTo>
                                      <a:pt x="84" y="144"/>
                                    </a:lnTo>
                                    <a:lnTo>
                                      <a:pt x="82" y="143"/>
                                    </a:lnTo>
                                    <a:lnTo>
                                      <a:pt x="80" y="143"/>
                                    </a:lnTo>
                                    <a:lnTo>
                                      <a:pt x="78" y="142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2"/>
                                    </a:lnTo>
                                    <a:lnTo>
                                      <a:pt x="68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6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58" y="143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3" y="141"/>
                                    </a:lnTo>
                                    <a:lnTo>
                                      <a:pt x="50" y="140"/>
                                    </a:lnTo>
                                    <a:lnTo>
                                      <a:pt x="47" y="140"/>
                                    </a:lnTo>
                                    <a:lnTo>
                                      <a:pt x="44" y="139"/>
                                    </a:lnTo>
                                    <a:lnTo>
                                      <a:pt x="42" y="138"/>
                                    </a:lnTo>
                                    <a:lnTo>
                                      <a:pt x="40" y="138"/>
                                    </a:lnTo>
                                    <a:lnTo>
                                      <a:pt x="39" y="138"/>
                                    </a:lnTo>
                                    <a:lnTo>
                                      <a:pt x="37" y="138"/>
                                    </a:lnTo>
                                    <a:lnTo>
                                      <a:pt x="36" y="138"/>
                                    </a:lnTo>
                                    <a:lnTo>
                                      <a:pt x="35" y="138"/>
                                    </a:lnTo>
                                    <a:lnTo>
                                      <a:pt x="33" y="138"/>
                                    </a:lnTo>
                                    <a:lnTo>
                                      <a:pt x="32" y="138"/>
                                    </a:lnTo>
                                    <a:lnTo>
                                      <a:pt x="31" y="138"/>
                                    </a:lnTo>
                                    <a:lnTo>
                                      <a:pt x="29" y="138"/>
                                    </a:lnTo>
                                    <a:lnTo>
                                      <a:pt x="28" y="139"/>
                                    </a:lnTo>
                                    <a:lnTo>
                                      <a:pt x="27" y="139"/>
                                    </a:lnTo>
                                    <a:lnTo>
                                      <a:pt x="26" y="139"/>
                                    </a:lnTo>
                                    <a:lnTo>
                                      <a:pt x="25" y="140"/>
                                    </a:lnTo>
                                    <a:lnTo>
                                      <a:pt x="23" y="140"/>
                                    </a:lnTo>
                                    <a:lnTo>
                                      <a:pt x="22" y="141"/>
                                    </a:lnTo>
                                    <a:lnTo>
                                      <a:pt x="21" y="142"/>
                                    </a:lnTo>
                                    <a:lnTo>
                                      <a:pt x="20" y="143"/>
                                    </a:lnTo>
                                    <a:lnTo>
                                      <a:pt x="19" y="144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7" y="143"/>
                                    </a:lnTo>
                                    <a:lnTo>
                                      <a:pt x="16" y="143"/>
                                    </a:lnTo>
                                    <a:lnTo>
                                      <a:pt x="15" y="143"/>
                                    </a:lnTo>
                                    <a:lnTo>
                                      <a:pt x="14" y="143"/>
                                    </a:lnTo>
                                    <a:lnTo>
                                      <a:pt x="14" y="144"/>
                                    </a:lnTo>
                                    <a:lnTo>
                                      <a:pt x="13" y="144"/>
                                    </a:lnTo>
                                    <a:lnTo>
                                      <a:pt x="12" y="144"/>
                                    </a:lnTo>
                                    <a:lnTo>
                                      <a:pt x="11" y="145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9" y="147"/>
                                    </a:lnTo>
                                    <a:lnTo>
                                      <a:pt x="8" y="147"/>
                                    </a:lnTo>
                                    <a:lnTo>
                                      <a:pt x="7" y="147"/>
                                    </a:lnTo>
                                    <a:lnTo>
                                      <a:pt x="7" y="137"/>
                                    </a:lnTo>
                                    <a:lnTo>
                                      <a:pt x="7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5"/>
                                    </a:lnTo>
                                    <a:lnTo>
                                      <a:pt x="10" y="125"/>
                                    </a:lnTo>
                                    <a:lnTo>
                                      <a:pt x="11" y="125"/>
                                    </a:lnTo>
                                    <a:lnTo>
                                      <a:pt x="12" y="125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3" y="124"/>
                                    </a:lnTo>
                                    <a:lnTo>
                                      <a:pt x="13" y="123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4" y="122"/>
                                    </a:lnTo>
                                    <a:lnTo>
                                      <a:pt x="14" y="121"/>
                                    </a:lnTo>
                                    <a:lnTo>
                                      <a:pt x="14" y="120"/>
                                    </a:lnTo>
                                    <a:lnTo>
                                      <a:pt x="13" y="119"/>
                                    </a:lnTo>
                                    <a:lnTo>
                                      <a:pt x="13" y="118"/>
                                    </a:lnTo>
                                    <a:lnTo>
                                      <a:pt x="12" y="117"/>
                                    </a:lnTo>
                                    <a:lnTo>
                                      <a:pt x="11" y="117"/>
                                    </a:lnTo>
                                    <a:lnTo>
                                      <a:pt x="11" y="116"/>
                                    </a:lnTo>
                                    <a:lnTo>
                                      <a:pt x="10" y="115"/>
                                    </a:lnTo>
                                    <a:lnTo>
                                      <a:pt x="9" y="114"/>
                                    </a:lnTo>
                                    <a:lnTo>
                                      <a:pt x="8" y="114"/>
                                    </a:lnTo>
                                    <a:lnTo>
                                      <a:pt x="8" y="113"/>
                                    </a:lnTo>
                                    <a:lnTo>
                                      <a:pt x="7" y="113"/>
                                    </a:lnTo>
                                    <a:lnTo>
                                      <a:pt x="6" y="112"/>
                                    </a:lnTo>
                                    <a:lnTo>
                                      <a:pt x="6" y="111"/>
                                    </a:lnTo>
                                    <a:lnTo>
                                      <a:pt x="6" y="110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8"/>
                                    </a:lnTo>
                                    <a:lnTo>
                                      <a:pt x="6" y="107"/>
                                    </a:lnTo>
                                    <a:lnTo>
                                      <a:pt x="7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4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2"/>
                                    </a:lnTo>
                                    <a:lnTo>
                                      <a:pt x="9" y="101"/>
                                    </a:lnTo>
                                    <a:lnTo>
                                      <a:pt x="9" y="100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8" y="96"/>
                                    </a:lnTo>
                                    <a:lnTo>
                                      <a:pt x="8" y="95"/>
                                    </a:lnTo>
                                    <a:lnTo>
                                      <a:pt x="8" y="94"/>
                                    </a:lnTo>
                                    <a:lnTo>
                                      <a:pt x="7" y="93"/>
                                    </a:lnTo>
                                    <a:lnTo>
                                      <a:pt x="7" y="92"/>
                                    </a:lnTo>
                                    <a:lnTo>
                                      <a:pt x="7" y="91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6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6" y="82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6" y="78"/>
                                    </a:lnTo>
                                    <a:lnTo>
                                      <a:pt x="6" y="77"/>
                                    </a:lnTo>
                                    <a:lnTo>
                                      <a:pt x="6" y="76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4" y="73"/>
                                    </a:lnTo>
                                    <a:lnTo>
                                      <a:pt x="4" y="72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0" y="68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2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3" y="63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1"/>
                                    </a:lnTo>
                                    <a:lnTo>
                                      <a:pt x="5" y="61"/>
                                    </a:lnTo>
                                    <a:lnTo>
                                      <a:pt x="5" y="59"/>
                                    </a:lnTo>
                                    <a:lnTo>
                                      <a:pt x="6" y="58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8" y="55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9525"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90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2" name="Freeform 7">
                                <a:extLst>
                                  <a:ext uri="{FF2B5EF4-FFF2-40B4-BE49-F238E27FC236}">
                                    <a16:creationId xmlns:a16="http://schemas.microsoft.com/office/drawing/2014/main" xmlns="" id="{91FBB2DE-BB33-4C13-BFE6-7567A4C1E8CB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1719447" y="2605272"/>
                                <a:ext cx="2145801" cy="1959875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9" y="12"/>
                                  </a:cxn>
                                  <a:cxn ang="0">
                                    <a:pos x="28" y="0"/>
                                  </a:cxn>
                                  <a:cxn ang="0">
                                    <a:pos x="38" y="4"/>
                                  </a:cxn>
                                  <a:cxn ang="0">
                                    <a:pos x="48" y="16"/>
                                  </a:cxn>
                                  <a:cxn ang="0">
                                    <a:pos x="58" y="12"/>
                                  </a:cxn>
                                  <a:cxn ang="0">
                                    <a:pos x="65" y="7"/>
                                  </a:cxn>
                                  <a:cxn ang="0">
                                    <a:pos x="71" y="3"/>
                                  </a:cxn>
                                  <a:cxn ang="0">
                                    <a:pos x="75" y="5"/>
                                  </a:cxn>
                                  <a:cxn ang="0">
                                    <a:pos x="81" y="7"/>
                                  </a:cxn>
                                  <a:cxn ang="0">
                                    <a:pos x="87" y="11"/>
                                  </a:cxn>
                                  <a:cxn ang="0">
                                    <a:pos x="98" y="6"/>
                                  </a:cxn>
                                  <a:cxn ang="0">
                                    <a:pos x="109" y="18"/>
                                  </a:cxn>
                                  <a:cxn ang="0">
                                    <a:pos x="119" y="23"/>
                                  </a:cxn>
                                  <a:cxn ang="0">
                                    <a:pos x="130" y="27"/>
                                  </a:cxn>
                                  <a:cxn ang="0">
                                    <a:pos x="134" y="19"/>
                                  </a:cxn>
                                  <a:cxn ang="0">
                                    <a:pos x="138" y="22"/>
                                  </a:cxn>
                                  <a:cxn ang="0">
                                    <a:pos x="153" y="23"/>
                                  </a:cxn>
                                  <a:cxn ang="0">
                                    <a:pos x="165" y="16"/>
                                  </a:cxn>
                                  <a:cxn ang="0">
                                    <a:pos x="173" y="3"/>
                                  </a:cxn>
                                  <a:cxn ang="0">
                                    <a:pos x="187" y="25"/>
                                  </a:cxn>
                                  <a:cxn ang="0">
                                    <a:pos x="194" y="49"/>
                                  </a:cxn>
                                  <a:cxn ang="0">
                                    <a:pos x="189" y="60"/>
                                  </a:cxn>
                                  <a:cxn ang="0">
                                    <a:pos x="183" y="65"/>
                                  </a:cxn>
                                  <a:cxn ang="0">
                                    <a:pos x="181" y="75"/>
                                  </a:cxn>
                                  <a:cxn ang="0">
                                    <a:pos x="186" y="79"/>
                                  </a:cxn>
                                  <a:cxn ang="0">
                                    <a:pos x="192" y="80"/>
                                  </a:cxn>
                                  <a:cxn ang="0">
                                    <a:pos x="198" y="89"/>
                                  </a:cxn>
                                  <a:cxn ang="0">
                                    <a:pos x="210" y="100"/>
                                  </a:cxn>
                                  <a:cxn ang="0">
                                    <a:pos x="213" y="105"/>
                                  </a:cxn>
                                  <a:cxn ang="0">
                                    <a:pos x="215" y="113"/>
                                  </a:cxn>
                                  <a:cxn ang="0">
                                    <a:pos x="213" y="123"/>
                                  </a:cxn>
                                  <a:cxn ang="0">
                                    <a:pos x="196" y="134"/>
                                  </a:cxn>
                                  <a:cxn ang="0">
                                    <a:pos x="188" y="141"/>
                                  </a:cxn>
                                  <a:cxn ang="0">
                                    <a:pos x="179" y="135"/>
                                  </a:cxn>
                                  <a:cxn ang="0">
                                    <a:pos x="167" y="120"/>
                                  </a:cxn>
                                  <a:cxn ang="0">
                                    <a:pos x="155" y="117"/>
                                  </a:cxn>
                                  <a:cxn ang="0">
                                    <a:pos x="146" y="131"/>
                                  </a:cxn>
                                  <a:cxn ang="0">
                                    <a:pos x="139" y="136"/>
                                  </a:cxn>
                                  <a:cxn ang="0">
                                    <a:pos x="132" y="137"/>
                                  </a:cxn>
                                  <a:cxn ang="0">
                                    <a:pos x="116" y="151"/>
                                  </a:cxn>
                                  <a:cxn ang="0">
                                    <a:pos x="105" y="163"/>
                                  </a:cxn>
                                  <a:cxn ang="0">
                                    <a:pos x="94" y="170"/>
                                  </a:cxn>
                                  <a:cxn ang="0">
                                    <a:pos x="89" y="176"/>
                                  </a:cxn>
                                  <a:cxn ang="0">
                                    <a:pos x="63" y="180"/>
                                  </a:cxn>
                                  <a:cxn ang="0">
                                    <a:pos x="43" y="178"/>
                                  </a:cxn>
                                  <a:cxn ang="0">
                                    <a:pos x="43" y="158"/>
                                  </a:cxn>
                                  <a:cxn ang="0">
                                    <a:pos x="45" y="147"/>
                                  </a:cxn>
                                  <a:cxn ang="0">
                                    <a:pos x="36" y="135"/>
                                  </a:cxn>
                                  <a:cxn ang="0">
                                    <a:pos x="23" y="123"/>
                                  </a:cxn>
                                  <a:cxn ang="0">
                                    <a:pos x="24" y="104"/>
                                  </a:cxn>
                                  <a:cxn ang="0">
                                    <a:pos x="29" y="97"/>
                                  </a:cxn>
                                  <a:cxn ang="0">
                                    <a:pos x="25" y="91"/>
                                  </a:cxn>
                                  <a:cxn ang="0">
                                    <a:pos x="25" y="79"/>
                                  </a:cxn>
                                  <a:cxn ang="0">
                                    <a:pos x="26" y="67"/>
                                  </a:cxn>
                                  <a:cxn ang="0">
                                    <a:pos x="16" y="65"/>
                                  </a:cxn>
                                  <a:cxn ang="0">
                                    <a:pos x="10" y="60"/>
                                  </a:cxn>
                                  <a:cxn ang="0">
                                    <a:pos x="2" y="52"/>
                                  </a:cxn>
                                  <a:cxn ang="0">
                                    <a:pos x="1" y="46"/>
                                  </a:cxn>
                                  <a:cxn ang="0">
                                    <a:pos x="10" y="38"/>
                                  </a:cxn>
                                  <a:cxn ang="0">
                                    <a:pos x="25" y="27"/>
                                  </a:cxn>
                                  <a:cxn ang="0">
                                    <a:pos x="24" y="18"/>
                                  </a:cxn>
                                </a:cxnLst>
                                <a:rect l="0" t="0" r="r" b="b"/>
                                <a:pathLst>
                                  <a:path w="216" h="183">
                                    <a:moveTo>
                                      <a:pt x="25" y="16"/>
                                    </a:move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4"/>
                                    </a:lnTo>
                                    <a:lnTo>
                                      <a:pt x="29" y="13"/>
                                    </a:lnTo>
                                    <a:lnTo>
                                      <a:pt x="29" y="12"/>
                                    </a:lnTo>
                                    <a:lnTo>
                                      <a:pt x="30" y="11"/>
                                    </a:lnTo>
                                    <a:lnTo>
                                      <a:pt x="30" y="10"/>
                                    </a:lnTo>
                                    <a:lnTo>
                                      <a:pt x="30" y="8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0" y="6"/>
                                    </a:lnTo>
                                    <a:lnTo>
                                      <a:pt x="30" y="4"/>
                                    </a:lnTo>
                                    <a:lnTo>
                                      <a:pt x="29" y="3"/>
                                    </a:lnTo>
                                    <a:lnTo>
                                      <a:pt x="29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28" y="0"/>
                                    </a:lnTo>
                                    <a:lnTo>
                                      <a:pt x="29" y="0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2" y="0"/>
                                    </a:lnTo>
                                    <a:lnTo>
                                      <a:pt x="33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4" y="2"/>
                                    </a:lnTo>
                                    <a:lnTo>
                                      <a:pt x="35" y="2"/>
                                    </a:lnTo>
                                    <a:lnTo>
                                      <a:pt x="36" y="3"/>
                                    </a:lnTo>
                                    <a:lnTo>
                                      <a:pt x="38" y="4"/>
                                    </a:lnTo>
                                    <a:lnTo>
                                      <a:pt x="39" y="5"/>
                                    </a:lnTo>
                                    <a:lnTo>
                                      <a:pt x="39" y="7"/>
                                    </a:lnTo>
                                    <a:lnTo>
                                      <a:pt x="41" y="9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2"/>
                                    </a:lnTo>
                                    <a:lnTo>
                                      <a:pt x="44" y="14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7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50" y="16"/>
                                    </a:lnTo>
                                    <a:lnTo>
                                      <a:pt x="52" y="15"/>
                                    </a:lnTo>
                                    <a:lnTo>
                                      <a:pt x="54" y="14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3"/>
                                    </a:lnTo>
                                    <a:lnTo>
                                      <a:pt x="57" y="13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9" y="11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2" y="8"/>
                                    </a:lnTo>
                                    <a:lnTo>
                                      <a:pt x="63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6" y="6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7" y="4"/>
                                    </a:lnTo>
                                    <a:lnTo>
                                      <a:pt x="68" y="4"/>
                                    </a:lnTo>
                                    <a:lnTo>
                                      <a:pt x="69" y="4"/>
                                    </a:lnTo>
                                    <a:lnTo>
                                      <a:pt x="69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5"/>
                                    </a:lnTo>
                                    <a:lnTo>
                                      <a:pt x="74" y="5"/>
                                    </a:lnTo>
                                    <a:lnTo>
                                      <a:pt x="75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9" y="5"/>
                                    </a:lnTo>
                                    <a:lnTo>
                                      <a:pt x="79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1" y="7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1" y="9"/>
                                    </a:lnTo>
                                    <a:lnTo>
                                      <a:pt x="82" y="9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6" y="11"/>
                                    </a:lnTo>
                                    <a:lnTo>
                                      <a:pt x="87" y="11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9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8"/>
                                    </a:lnTo>
                                    <a:lnTo>
                                      <a:pt x="92" y="7"/>
                                    </a:lnTo>
                                    <a:lnTo>
                                      <a:pt x="93" y="7"/>
                                    </a:lnTo>
                                    <a:lnTo>
                                      <a:pt x="95" y="6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6"/>
                                    </a:lnTo>
                                    <a:lnTo>
                                      <a:pt x="98" y="6"/>
                                    </a:lnTo>
                                    <a:lnTo>
                                      <a:pt x="100" y="6"/>
                                    </a:lnTo>
                                    <a:lnTo>
                                      <a:pt x="101" y="6"/>
                                    </a:lnTo>
                                    <a:lnTo>
                                      <a:pt x="102" y="6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8"/>
                                    </a:lnTo>
                                    <a:lnTo>
                                      <a:pt x="105" y="11"/>
                                    </a:lnTo>
                                    <a:lnTo>
                                      <a:pt x="106" y="13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7"/>
                                    </a:lnTo>
                                    <a:lnTo>
                                      <a:pt x="109" y="18"/>
                                    </a:lnTo>
                                    <a:lnTo>
                                      <a:pt x="110" y="19"/>
                                    </a:lnTo>
                                    <a:lnTo>
                                      <a:pt x="111" y="20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2" y="22"/>
                                    </a:lnTo>
                                    <a:lnTo>
                                      <a:pt x="113" y="23"/>
                                    </a:lnTo>
                                    <a:lnTo>
                                      <a:pt x="115" y="23"/>
                                    </a:lnTo>
                                    <a:lnTo>
                                      <a:pt x="116" y="23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3"/>
                                    </a:lnTo>
                                    <a:lnTo>
                                      <a:pt x="119" y="23"/>
                                    </a:lnTo>
                                    <a:lnTo>
                                      <a:pt x="120" y="23"/>
                                    </a:lnTo>
                                    <a:lnTo>
                                      <a:pt x="121" y="24"/>
                                    </a:lnTo>
                                    <a:lnTo>
                                      <a:pt x="122" y="24"/>
                                    </a:lnTo>
                                    <a:lnTo>
                                      <a:pt x="123" y="24"/>
                                    </a:lnTo>
                                    <a:lnTo>
                                      <a:pt x="124" y="25"/>
                                    </a:lnTo>
                                    <a:lnTo>
                                      <a:pt x="125" y="26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9" y="28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1" y="27"/>
                                    </a:lnTo>
                                    <a:lnTo>
                                      <a:pt x="131" y="26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3" y="24"/>
                                    </a:lnTo>
                                    <a:lnTo>
                                      <a:pt x="133" y="23"/>
                                    </a:lnTo>
                                    <a:lnTo>
                                      <a:pt x="134" y="21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20"/>
                                    </a:lnTo>
                                    <a:lnTo>
                                      <a:pt x="138" y="21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40" y="23"/>
                                    </a:lnTo>
                                    <a:lnTo>
                                      <a:pt x="144" y="23"/>
                                    </a:lnTo>
                                    <a:lnTo>
                                      <a:pt x="147" y="23"/>
                                    </a:lnTo>
                                    <a:lnTo>
                                      <a:pt x="149" y="23"/>
                                    </a:lnTo>
                                    <a:lnTo>
                                      <a:pt x="151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5" y="23"/>
                                    </a:lnTo>
                                    <a:lnTo>
                                      <a:pt x="156" y="23"/>
                                    </a:lnTo>
                                    <a:lnTo>
                                      <a:pt x="158" y="22"/>
                                    </a:lnTo>
                                    <a:lnTo>
                                      <a:pt x="159" y="22"/>
                                    </a:lnTo>
                                    <a:lnTo>
                                      <a:pt x="160" y="21"/>
                                    </a:lnTo>
                                    <a:lnTo>
                                      <a:pt x="162" y="20"/>
                                    </a:lnTo>
                                    <a:lnTo>
                                      <a:pt x="163" y="20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18"/>
                                    </a:lnTo>
                                    <a:lnTo>
                                      <a:pt x="165" y="16"/>
                                    </a:lnTo>
                                    <a:lnTo>
                                      <a:pt x="165" y="14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6" y="10"/>
                                    </a:lnTo>
                                    <a:lnTo>
                                      <a:pt x="166" y="8"/>
                                    </a:lnTo>
                                    <a:lnTo>
                                      <a:pt x="167" y="6"/>
                                    </a:lnTo>
                                    <a:lnTo>
                                      <a:pt x="167" y="5"/>
                                    </a:lnTo>
                                    <a:lnTo>
                                      <a:pt x="168" y="3"/>
                                    </a:lnTo>
                                    <a:lnTo>
                                      <a:pt x="170" y="3"/>
                                    </a:lnTo>
                                    <a:lnTo>
                                      <a:pt x="171" y="3"/>
                                    </a:lnTo>
                                    <a:lnTo>
                                      <a:pt x="173" y="3"/>
                                    </a:lnTo>
                                    <a:lnTo>
                                      <a:pt x="175" y="3"/>
                                    </a:lnTo>
                                    <a:lnTo>
                                      <a:pt x="178" y="7"/>
                                    </a:lnTo>
                                    <a:lnTo>
                                      <a:pt x="181" y="10"/>
                                    </a:lnTo>
                                    <a:lnTo>
                                      <a:pt x="182" y="12"/>
                                    </a:lnTo>
                                    <a:lnTo>
                                      <a:pt x="184" y="14"/>
                                    </a:lnTo>
                                    <a:lnTo>
                                      <a:pt x="185" y="16"/>
                                    </a:lnTo>
                                    <a:lnTo>
                                      <a:pt x="187" y="18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3"/>
                                    </a:lnTo>
                                    <a:lnTo>
                                      <a:pt x="187" y="25"/>
                                    </a:lnTo>
                                    <a:lnTo>
                                      <a:pt x="188" y="27"/>
                                    </a:lnTo>
                                    <a:lnTo>
                                      <a:pt x="188" y="29"/>
                                    </a:lnTo>
                                    <a:lnTo>
                                      <a:pt x="189" y="31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41"/>
                                    </a:lnTo>
                                    <a:lnTo>
                                      <a:pt x="193" y="43"/>
                                    </a:lnTo>
                                    <a:lnTo>
                                      <a:pt x="193" y="45"/>
                                    </a:lnTo>
                                    <a:lnTo>
                                      <a:pt x="194" y="47"/>
                                    </a:lnTo>
                                    <a:lnTo>
                                      <a:pt x="194" y="49"/>
                                    </a:lnTo>
                                    <a:lnTo>
                                      <a:pt x="195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3" y="53"/>
                                    </a:lnTo>
                                    <a:lnTo>
                                      <a:pt x="192" y="53"/>
                                    </a:lnTo>
                                    <a:lnTo>
                                      <a:pt x="192" y="54"/>
                                    </a:lnTo>
                                    <a:lnTo>
                                      <a:pt x="191" y="55"/>
                                    </a:lnTo>
                                    <a:lnTo>
                                      <a:pt x="191" y="56"/>
                                    </a:lnTo>
                                    <a:lnTo>
                                      <a:pt x="190" y="58"/>
                                    </a:lnTo>
                                    <a:lnTo>
                                      <a:pt x="189" y="59"/>
                                    </a:lnTo>
                                    <a:lnTo>
                                      <a:pt x="189" y="60"/>
                                    </a:lnTo>
                                    <a:lnTo>
                                      <a:pt x="188" y="61"/>
                                    </a:lnTo>
                                    <a:lnTo>
                                      <a:pt x="187" y="61"/>
                                    </a:lnTo>
                                    <a:lnTo>
                                      <a:pt x="186" y="62"/>
                                    </a:lnTo>
                                    <a:lnTo>
                                      <a:pt x="185" y="62"/>
                                    </a:lnTo>
                                    <a:lnTo>
                                      <a:pt x="185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3" y="63"/>
                                    </a:lnTo>
                                    <a:lnTo>
                                      <a:pt x="183" y="64"/>
                                    </a:lnTo>
                                    <a:lnTo>
                                      <a:pt x="183" y="65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2" y="68"/>
                                    </a:lnTo>
                                    <a:lnTo>
                                      <a:pt x="182" y="69"/>
                                    </a:lnTo>
                                    <a:lnTo>
                                      <a:pt x="182" y="71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81" y="75"/>
                                    </a:lnTo>
                                    <a:lnTo>
                                      <a:pt x="181" y="76"/>
                                    </a:lnTo>
                                    <a:lnTo>
                                      <a:pt x="182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5" y="78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6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9" y="78"/>
                                    </a:lnTo>
                                    <a:lnTo>
                                      <a:pt x="190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2" y="79"/>
                                    </a:lnTo>
                                    <a:lnTo>
                                      <a:pt x="192" y="80"/>
                                    </a:lnTo>
                                    <a:lnTo>
                                      <a:pt x="192" y="81"/>
                                    </a:lnTo>
                                    <a:lnTo>
                                      <a:pt x="192" y="82"/>
                                    </a:lnTo>
                                    <a:lnTo>
                                      <a:pt x="192" y="83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4" y="85"/>
                                    </a:lnTo>
                                    <a:lnTo>
                                      <a:pt x="195" y="86"/>
                                    </a:lnTo>
                                    <a:lnTo>
                                      <a:pt x="196" y="87"/>
                                    </a:lnTo>
                                    <a:lnTo>
                                      <a:pt x="197" y="88"/>
                                    </a:lnTo>
                                    <a:lnTo>
                                      <a:pt x="198" y="89"/>
                                    </a:lnTo>
                                    <a:lnTo>
                                      <a:pt x="200" y="90"/>
                                    </a:lnTo>
                                    <a:lnTo>
                                      <a:pt x="201" y="91"/>
                                    </a:lnTo>
                                    <a:lnTo>
                                      <a:pt x="204" y="92"/>
                                    </a:lnTo>
                                    <a:lnTo>
                                      <a:pt x="206" y="93"/>
                                    </a:lnTo>
                                    <a:lnTo>
                                      <a:pt x="207" y="94"/>
                                    </a:lnTo>
                                    <a:lnTo>
                                      <a:pt x="209" y="95"/>
                                    </a:lnTo>
                                    <a:lnTo>
                                      <a:pt x="210" y="96"/>
                                    </a:lnTo>
                                    <a:lnTo>
                                      <a:pt x="210" y="98"/>
                                    </a:lnTo>
                                    <a:lnTo>
                                      <a:pt x="210" y="99"/>
                                    </a:lnTo>
                                    <a:lnTo>
                                      <a:pt x="210" y="100"/>
                                    </a:lnTo>
                                    <a:lnTo>
                                      <a:pt x="210" y="101"/>
                                    </a:lnTo>
                                    <a:lnTo>
                                      <a:pt x="210" y="102"/>
                                    </a:lnTo>
                                    <a:lnTo>
                                      <a:pt x="211" y="103"/>
                                    </a:lnTo>
                                    <a:lnTo>
                                      <a:pt x="211" y="104"/>
                                    </a:lnTo>
                                    <a:lnTo>
                                      <a:pt x="211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8"/>
                                    </a:lnTo>
                                    <a:lnTo>
                                      <a:pt x="215" y="110"/>
                                    </a:lnTo>
                                    <a:lnTo>
                                      <a:pt x="215" y="111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3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5"/>
                                    </a:lnTo>
                                    <a:lnTo>
                                      <a:pt x="216" y="116"/>
                                    </a:lnTo>
                                    <a:lnTo>
                                      <a:pt x="216" y="117"/>
                                    </a:lnTo>
                                    <a:lnTo>
                                      <a:pt x="215" y="118"/>
                                    </a:lnTo>
                                    <a:lnTo>
                                      <a:pt x="215" y="120"/>
                                    </a:lnTo>
                                    <a:lnTo>
                                      <a:pt x="214" y="121"/>
                                    </a:lnTo>
                                    <a:lnTo>
                                      <a:pt x="213" y="122"/>
                                    </a:lnTo>
                                    <a:lnTo>
                                      <a:pt x="213" y="123"/>
                                    </a:lnTo>
                                    <a:lnTo>
                                      <a:pt x="212" y="123"/>
                                    </a:lnTo>
                                    <a:lnTo>
                                      <a:pt x="211" y="124"/>
                                    </a:lnTo>
                                    <a:lnTo>
                                      <a:pt x="210" y="125"/>
                                    </a:lnTo>
                                    <a:lnTo>
                                      <a:pt x="208" y="126"/>
                                    </a:lnTo>
                                    <a:lnTo>
                                      <a:pt x="206" y="128"/>
                                    </a:lnTo>
                                    <a:lnTo>
                                      <a:pt x="204" y="129"/>
                                    </a:lnTo>
                                    <a:lnTo>
                                      <a:pt x="202" y="130"/>
                                    </a:lnTo>
                                    <a:lnTo>
                                      <a:pt x="200" y="131"/>
                                    </a:lnTo>
                                    <a:lnTo>
                                      <a:pt x="198" y="133"/>
                                    </a:lnTo>
                                    <a:lnTo>
                                      <a:pt x="196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6"/>
                                    </a:lnTo>
                                    <a:lnTo>
                                      <a:pt x="192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1" y="139"/>
                                    </a:lnTo>
                                    <a:lnTo>
                                      <a:pt x="190" y="140"/>
                                    </a:lnTo>
                                    <a:lnTo>
                                      <a:pt x="190" y="141"/>
                                    </a:lnTo>
                                    <a:lnTo>
                                      <a:pt x="189" y="141"/>
                                    </a:lnTo>
                                    <a:lnTo>
                                      <a:pt x="188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5" y="141"/>
                                    </a:lnTo>
                                    <a:lnTo>
                                      <a:pt x="184" y="140"/>
                                    </a:lnTo>
                                    <a:lnTo>
                                      <a:pt x="183" y="139"/>
                                    </a:lnTo>
                                    <a:lnTo>
                                      <a:pt x="182" y="139"/>
                                    </a:lnTo>
                                    <a:lnTo>
                                      <a:pt x="181" y="138"/>
                                    </a:lnTo>
                                    <a:lnTo>
                                      <a:pt x="180" y="137"/>
                                    </a:lnTo>
                                    <a:lnTo>
                                      <a:pt x="179" y="136"/>
                                    </a:lnTo>
                                    <a:lnTo>
                                      <a:pt x="179" y="135"/>
                                    </a:lnTo>
                                    <a:lnTo>
                                      <a:pt x="177" y="133"/>
                                    </a:lnTo>
                                    <a:lnTo>
                                      <a:pt x="176" y="131"/>
                                    </a:lnTo>
                                    <a:lnTo>
                                      <a:pt x="174" y="129"/>
                                    </a:lnTo>
                                    <a:lnTo>
                                      <a:pt x="173" y="127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3"/>
                                    </a:lnTo>
                                    <a:lnTo>
                                      <a:pt x="169" y="122"/>
                                    </a:lnTo>
                                    <a:lnTo>
                                      <a:pt x="168" y="121"/>
                                    </a:lnTo>
                                    <a:lnTo>
                                      <a:pt x="167" y="121"/>
                                    </a:lnTo>
                                    <a:lnTo>
                                      <a:pt x="167" y="120"/>
                                    </a:lnTo>
                                    <a:lnTo>
                                      <a:pt x="166" y="119"/>
                                    </a:lnTo>
                                    <a:lnTo>
                                      <a:pt x="165" y="119"/>
                                    </a:lnTo>
                                    <a:lnTo>
                                      <a:pt x="163" y="118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59" y="117"/>
                                    </a:lnTo>
                                    <a:lnTo>
                                      <a:pt x="158" y="116"/>
                                    </a:lnTo>
                                    <a:lnTo>
                                      <a:pt x="157" y="116"/>
                                    </a:lnTo>
                                    <a:lnTo>
                                      <a:pt x="156" y="117"/>
                                    </a:lnTo>
                                    <a:lnTo>
                                      <a:pt x="155" y="117"/>
                                    </a:lnTo>
                                    <a:lnTo>
                                      <a:pt x="154" y="118"/>
                                    </a:lnTo>
                                    <a:lnTo>
                                      <a:pt x="153" y="119"/>
                                    </a:lnTo>
                                    <a:lnTo>
                                      <a:pt x="152" y="120"/>
                                    </a:lnTo>
                                    <a:lnTo>
                                      <a:pt x="151" y="121"/>
                                    </a:lnTo>
                                    <a:lnTo>
                                      <a:pt x="150" y="123"/>
                                    </a:lnTo>
                                    <a:lnTo>
                                      <a:pt x="149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8"/>
                                    </a:lnTo>
                                    <a:lnTo>
                                      <a:pt x="147" y="130"/>
                                    </a:lnTo>
                                    <a:lnTo>
                                      <a:pt x="146" y="131"/>
                                    </a:lnTo>
                                    <a:lnTo>
                                      <a:pt x="146" y="133"/>
                                    </a:lnTo>
                                    <a:lnTo>
                                      <a:pt x="145" y="134"/>
                                    </a:lnTo>
                                    <a:lnTo>
                                      <a:pt x="144" y="135"/>
                                    </a:lnTo>
                                    <a:lnTo>
                                      <a:pt x="143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39" y="136"/>
                                    </a:lnTo>
                                    <a:lnTo>
                                      <a:pt x="138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5" y="134"/>
                                    </a:lnTo>
                                    <a:lnTo>
                                      <a:pt x="134" y="134"/>
                                    </a:lnTo>
                                    <a:lnTo>
                                      <a:pt x="133" y="135"/>
                                    </a:lnTo>
                                    <a:lnTo>
                                      <a:pt x="133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29" y="141"/>
                                    </a:lnTo>
                                    <a:lnTo>
                                      <a:pt x="127" y="142"/>
                                    </a:lnTo>
                                    <a:lnTo>
                                      <a:pt x="125" y="144"/>
                                    </a:lnTo>
                                    <a:lnTo>
                                      <a:pt x="123" y="145"/>
                                    </a:lnTo>
                                    <a:lnTo>
                                      <a:pt x="122" y="147"/>
                                    </a:lnTo>
                                    <a:lnTo>
                                      <a:pt x="120" y="148"/>
                                    </a:lnTo>
                                    <a:lnTo>
                                      <a:pt x="118" y="150"/>
                                    </a:lnTo>
                                    <a:lnTo>
                                      <a:pt x="116" y="151"/>
                                    </a:lnTo>
                                    <a:lnTo>
                                      <a:pt x="114" y="153"/>
                                    </a:lnTo>
                                    <a:lnTo>
                                      <a:pt x="112" y="155"/>
                                    </a:lnTo>
                                    <a:lnTo>
                                      <a:pt x="111" y="157"/>
                                    </a:lnTo>
                                    <a:lnTo>
                                      <a:pt x="110" y="157"/>
                                    </a:lnTo>
                                    <a:lnTo>
                                      <a:pt x="109" y="158"/>
                                    </a:lnTo>
                                    <a:lnTo>
                                      <a:pt x="108" y="159"/>
                                    </a:lnTo>
                                    <a:lnTo>
                                      <a:pt x="108" y="161"/>
                                    </a:lnTo>
                                    <a:lnTo>
                                      <a:pt x="107" y="162"/>
                                    </a:lnTo>
                                    <a:lnTo>
                                      <a:pt x="106" y="163"/>
                                    </a:lnTo>
                                    <a:lnTo>
                                      <a:pt x="105" y="163"/>
                                    </a:lnTo>
                                    <a:lnTo>
                                      <a:pt x="104" y="163"/>
                                    </a:lnTo>
                                    <a:lnTo>
                                      <a:pt x="102" y="164"/>
                                    </a:lnTo>
                                    <a:lnTo>
                                      <a:pt x="101" y="165"/>
                                    </a:lnTo>
                                    <a:lnTo>
                                      <a:pt x="100" y="165"/>
                                    </a:lnTo>
                                    <a:lnTo>
                                      <a:pt x="99" y="166"/>
                                    </a:lnTo>
                                    <a:lnTo>
                                      <a:pt x="98" y="167"/>
                                    </a:lnTo>
                                    <a:lnTo>
                                      <a:pt x="97" y="167"/>
                                    </a:lnTo>
                                    <a:lnTo>
                                      <a:pt x="96" y="168"/>
                                    </a:lnTo>
                                    <a:lnTo>
                                      <a:pt x="95" y="169"/>
                                    </a:lnTo>
                                    <a:lnTo>
                                      <a:pt x="94" y="170"/>
                                    </a:lnTo>
                                    <a:lnTo>
                                      <a:pt x="94" y="171"/>
                                    </a:lnTo>
                                    <a:lnTo>
                                      <a:pt x="93" y="172"/>
                                    </a:lnTo>
                                    <a:lnTo>
                                      <a:pt x="93" y="174"/>
                                    </a:lnTo>
                                    <a:lnTo>
                                      <a:pt x="92" y="175"/>
                                    </a:lnTo>
                                    <a:lnTo>
                                      <a:pt x="92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89" y="176"/>
                                    </a:lnTo>
                                    <a:lnTo>
                                      <a:pt x="87" y="176"/>
                                    </a:lnTo>
                                    <a:lnTo>
                                      <a:pt x="86" y="176"/>
                                    </a:lnTo>
                                    <a:lnTo>
                                      <a:pt x="85" y="176"/>
                                    </a:lnTo>
                                    <a:lnTo>
                                      <a:pt x="82" y="176"/>
                                    </a:lnTo>
                                    <a:lnTo>
                                      <a:pt x="80" y="176"/>
                                    </a:lnTo>
                                    <a:lnTo>
                                      <a:pt x="77" y="177"/>
                                    </a:lnTo>
                                    <a:lnTo>
                                      <a:pt x="74" y="177"/>
                                    </a:lnTo>
                                    <a:lnTo>
                                      <a:pt x="71" y="178"/>
                                    </a:lnTo>
                                    <a:lnTo>
                                      <a:pt x="69" y="179"/>
                                    </a:lnTo>
                                    <a:lnTo>
                                      <a:pt x="63" y="180"/>
                                    </a:lnTo>
                                    <a:lnTo>
                                      <a:pt x="60" y="181"/>
                                    </a:lnTo>
                                    <a:lnTo>
                                      <a:pt x="57" y="181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1" y="182"/>
                                    </a:lnTo>
                                    <a:lnTo>
                                      <a:pt x="48" y="183"/>
                                    </a:lnTo>
                                    <a:lnTo>
                                      <a:pt x="45" y="183"/>
                                    </a:lnTo>
                                    <a:lnTo>
                                      <a:pt x="44" y="182"/>
                                    </a:lnTo>
                                    <a:lnTo>
                                      <a:pt x="44" y="181"/>
                                    </a:lnTo>
                                    <a:lnTo>
                                      <a:pt x="44" y="179"/>
                                    </a:lnTo>
                                    <a:lnTo>
                                      <a:pt x="43" y="178"/>
                                    </a:lnTo>
                                    <a:lnTo>
                                      <a:pt x="43" y="176"/>
                                    </a:lnTo>
                                    <a:lnTo>
                                      <a:pt x="43" y="175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3" y="171"/>
                                    </a:lnTo>
                                    <a:lnTo>
                                      <a:pt x="43" y="168"/>
                                    </a:lnTo>
                                    <a:lnTo>
                                      <a:pt x="43" y="164"/>
                                    </a:lnTo>
                                    <a:lnTo>
                                      <a:pt x="43" y="163"/>
                                    </a:lnTo>
                                    <a:lnTo>
                                      <a:pt x="43" y="161"/>
                                    </a:lnTo>
                                    <a:lnTo>
                                      <a:pt x="43" y="159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5" y="155"/>
                                    </a:lnTo>
                                    <a:lnTo>
                                      <a:pt x="45" y="154"/>
                                    </a:lnTo>
                                    <a:lnTo>
                                      <a:pt x="45" y="153"/>
                                    </a:lnTo>
                                    <a:lnTo>
                                      <a:pt x="45" y="152"/>
                                    </a:lnTo>
                                    <a:lnTo>
                                      <a:pt x="45" y="151"/>
                                    </a:lnTo>
                                    <a:lnTo>
                                      <a:pt x="45" y="149"/>
                                    </a:lnTo>
                                    <a:lnTo>
                                      <a:pt x="45" y="147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4"/>
                                    </a:lnTo>
                                    <a:lnTo>
                                      <a:pt x="45" y="143"/>
                                    </a:lnTo>
                                    <a:lnTo>
                                      <a:pt x="44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2" y="139"/>
                                    </a:lnTo>
                                    <a:lnTo>
                                      <a:pt x="41" y="138"/>
                                    </a:lnTo>
                                    <a:lnTo>
                                      <a:pt x="39" y="137"/>
                                    </a:lnTo>
                                    <a:lnTo>
                                      <a:pt x="38" y="136"/>
                                    </a:lnTo>
                                    <a:lnTo>
                                      <a:pt x="36" y="135"/>
                                    </a:lnTo>
                                    <a:lnTo>
                                      <a:pt x="35" y="135"/>
                                    </a:lnTo>
                                    <a:lnTo>
                                      <a:pt x="32" y="133"/>
                                    </a:lnTo>
                                    <a:lnTo>
                                      <a:pt x="30" y="132"/>
                                    </a:lnTo>
                                    <a:lnTo>
                                      <a:pt x="29" y="132"/>
                                    </a:lnTo>
                                    <a:lnTo>
                                      <a:pt x="27" y="131"/>
                                    </a:lnTo>
                                    <a:lnTo>
                                      <a:pt x="26" y="130"/>
                                    </a:lnTo>
                                    <a:lnTo>
                                      <a:pt x="25" y="129"/>
                                    </a:lnTo>
                                    <a:lnTo>
                                      <a:pt x="23" y="128"/>
                                    </a:lnTo>
                                    <a:lnTo>
                                      <a:pt x="23" y="125"/>
                                    </a:lnTo>
                                    <a:lnTo>
                                      <a:pt x="23" y="123"/>
                                    </a:lnTo>
                                    <a:lnTo>
                                      <a:pt x="23" y="120"/>
                                    </a:lnTo>
                                    <a:lnTo>
                                      <a:pt x="23" y="118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3" y="114"/>
                                    </a:lnTo>
                                    <a:lnTo>
                                      <a:pt x="23" y="112"/>
                                    </a:lnTo>
                                    <a:lnTo>
                                      <a:pt x="23" y="110"/>
                                    </a:lnTo>
                                    <a:lnTo>
                                      <a:pt x="23" y="109"/>
                                    </a:lnTo>
                                    <a:lnTo>
                                      <a:pt x="23" y="107"/>
                                    </a:lnTo>
                                    <a:lnTo>
                                      <a:pt x="24" y="106"/>
                                    </a:lnTo>
                                    <a:lnTo>
                                      <a:pt x="24" y="104"/>
                                    </a:lnTo>
                                    <a:lnTo>
                                      <a:pt x="25" y="103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6" y="101"/>
                                    </a:lnTo>
                                    <a:lnTo>
                                      <a:pt x="26" y="100"/>
                                    </a:lnTo>
                                    <a:lnTo>
                                      <a:pt x="27" y="99"/>
                                    </a:lnTo>
                                    <a:lnTo>
                                      <a:pt x="28" y="99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7" y="93"/>
                                    </a:lnTo>
                                    <a:lnTo>
                                      <a:pt x="26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5" y="91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88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0"/>
                                    </a:lnTo>
                                    <a:lnTo>
                                      <a:pt x="25" y="79"/>
                                    </a:lnTo>
                                    <a:lnTo>
                                      <a:pt x="25" y="78"/>
                                    </a:lnTo>
                                    <a:lnTo>
                                      <a:pt x="26" y="76"/>
                                    </a:lnTo>
                                    <a:lnTo>
                                      <a:pt x="26" y="74"/>
                                    </a:lnTo>
                                    <a:lnTo>
                                      <a:pt x="27" y="72"/>
                                    </a:lnTo>
                                    <a:lnTo>
                                      <a:pt x="28" y="70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6" y="67"/>
                                    </a:lnTo>
                                    <a:lnTo>
                                      <a:pt x="25" y="67"/>
                                    </a:lnTo>
                                    <a:lnTo>
                                      <a:pt x="24" y="66"/>
                                    </a:lnTo>
                                    <a:lnTo>
                                      <a:pt x="23" y="66"/>
                                    </a:lnTo>
                                    <a:lnTo>
                                      <a:pt x="22" y="65"/>
                                    </a:lnTo>
                                    <a:lnTo>
                                      <a:pt x="21" y="65"/>
                                    </a:lnTo>
                                    <a:lnTo>
                                      <a:pt x="20" y="65"/>
                                    </a:lnTo>
                                    <a:lnTo>
                                      <a:pt x="19" y="65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5"/>
                                    </a:lnTo>
                                    <a:lnTo>
                                      <a:pt x="16" y="65"/>
                                    </a:lnTo>
                                    <a:lnTo>
                                      <a:pt x="16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3" y="65"/>
                                    </a:lnTo>
                                    <a:lnTo>
                                      <a:pt x="12" y="64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0" y="62"/>
                                    </a:lnTo>
                                    <a:lnTo>
                                      <a:pt x="10" y="60"/>
                                    </a:lnTo>
                                    <a:lnTo>
                                      <a:pt x="8" y="58"/>
                                    </a:lnTo>
                                    <a:lnTo>
                                      <a:pt x="8" y="57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6" y="54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4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3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1" y="47"/>
                                    </a:lnTo>
                                    <a:lnTo>
                                      <a:pt x="1" y="46"/>
                                    </a:lnTo>
                                    <a:lnTo>
                                      <a:pt x="2" y="46"/>
                                    </a:lnTo>
                                    <a:lnTo>
                                      <a:pt x="2" y="45"/>
                                    </a:lnTo>
                                    <a:lnTo>
                                      <a:pt x="3" y="43"/>
                                    </a:lnTo>
                                    <a:lnTo>
                                      <a:pt x="4" y="42"/>
                                    </a:lnTo>
                                    <a:lnTo>
                                      <a:pt x="5" y="41"/>
                                    </a:lnTo>
                                    <a:lnTo>
                                      <a:pt x="5" y="40"/>
                                    </a:lnTo>
                                    <a:lnTo>
                                      <a:pt x="6" y="40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7" y="38"/>
                                    </a:lnTo>
                                    <a:lnTo>
                                      <a:pt x="10" y="38"/>
                                    </a:lnTo>
                                    <a:lnTo>
                                      <a:pt x="12" y="38"/>
                                    </a:lnTo>
                                    <a:lnTo>
                                      <a:pt x="15" y="38"/>
                                    </a:lnTo>
                                    <a:lnTo>
                                      <a:pt x="18" y="38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6"/>
                                    </a:lnTo>
                                    <a:lnTo>
                                      <a:pt x="21" y="35"/>
                                    </a:lnTo>
                                    <a:lnTo>
                                      <a:pt x="22" y="33"/>
                                    </a:lnTo>
                                    <a:lnTo>
                                      <a:pt x="23" y="31"/>
                                    </a:lnTo>
                                    <a:lnTo>
                                      <a:pt x="25" y="28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5" y="26"/>
                                    </a:lnTo>
                                    <a:lnTo>
                                      <a:pt x="25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4" y="19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3" name="Freeform 8">
                                <a:extLst>
                                  <a:ext uri="{FF2B5EF4-FFF2-40B4-BE49-F238E27FC236}">
                                    <a16:creationId xmlns:a16="http://schemas.microsoft.com/office/drawing/2014/main" xmlns="" id="{2D113D35-A7AC-4406-B14C-57BE7E76F3E3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621465" y="2674697"/>
                                <a:ext cx="3017967" cy="1839383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18" y="2"/>
                                  </a:cxn>
                                  <a:cxn ang="0">
                                    <a:pos x="219" y="9"/>
                                  </a:cxn>
                                  <a:cxn ang="0">
                                    <a:pos x="232" y="15"/>
                                  </a:cxn>
                                  <a:cxn ang="0">
                                    <a:pos x="242" y="23"/>
                                  </a:cxn>
                                  <a:cxn ang="0">
                                    <a:pos x="241" y="28"/>
                                  </a:cxn>
                                  <a:cxn ang="0">
                                    <a:pos x="244" y="29"/>
                                  </a:cxn>
                                  <a:cxn ang="0">
                                    <a:pos x="250" y="22"/>
                                  </a:cxn>
                                  <a:cxn ang="0">
                                    <a:pos x="264" y="20"/>
                                  </a:cxn>
                                  <a:cxn ang="0">
                                    <a:pos x="271" y="9"/>
                                  </a:cxn>
                                  <a:cxn ang="0">
                                    <a:pos x="282" y="6"/>
                                  </a:cxn>
                                  <a:cxn ang="0">
                                    <a:pos x="293" y="17"/>
                                  </a:cxn>
                                  <a:cxn ang="0">
                                    <a:pos x="291" y="27"/>
                                  </a:cxn>
                                  <a:cxn ang="0">
                                    <a:pos x="285" y="35"/>
                                  </a:cxn>
                                  <a:cxn ang="0">
                                    <a:pos x="286" y="40"/>
                                  </a:cxn>
                                  <a:cxn ang="0">
                                    <a:pos x="290" y="50"/>
                                  </a:cxn>
                                  <a:cxn ang="0">
                                    <a:pos x="292" y="64"/>
                                  </a:cxn>
                                  <a:cxn ang="0">
                                    <a:pos x="295" y="70"/>
                                  </a:cxn>
                                  <a:cxn ang="0">
                                    <a:pos x="290" y="79"/>
                                  </a:cxn>
                                  <a:cxn ang="0">
                                    <a:pos x="293" y="84"/>
                                  </a:cxn>
                                  <a:cxn ang="0">
                                    <a:pos x="298" y="92"/>
                                  </a:cxn>
                                  <a:cxn ang="0">
                                    <a:pos x="293" y="96"/>
                                  </a:cxn>
                                  <a:cxn ang="0">
                                    <a:pos x="291" y="110"/>
                                  </a:cxn>
                                  <a:cxn ang="0">
                                    <a:pos x="296" y="115"/>
                                  </a:cxn>
                                  <a:cxn ang="0">
                                    <a:pos x="303" y="114"/>
                                  </a:cxn>
                                  <a:cxn ang="0">
                                    <a:pos x="304" y="120"/>
                                  </a:cxn>
                                  <a:cxn ang="0">
                                    <a:pos x="299" y="129"/>
                                  </a:cxn>
                                  <a:cxn ang="0">
                                    <a:pos x="256" y="134"/>
                                  </a:cxn>
                                  <a:cxn ang="0">
                                    <a:pos x="237" y="146"/>
                                  </a:cxn>
                                  <a:cxn ang="0">
                                    <a:pos x="229" y="159"/>
                                  </a:cxn>
                                  <a:cxn ang="0">
                                    <a:pos x="193" y="169"/>
                                  </a:cxn>
                                  <a:cxn ang="0">
                                    <a:pos x="131" y="172"/>
                                  </a:cxn>
                                  <a:cxn ang="0">
                                    <a:pos x="123" y="169"/>
                                  </a:cxn>
                                  <a:cxn ang="0">
                                    <a:pos x="92" y="169"/>
                                  </a:cxn>
                                  <a:cxn ang="0">
                                    <a:pos x="73" y="168"/>
                                  </a:cxn>
                                  <a:cxn ang="0">
                                    <a:pos x="46" y="165"/>
                                  </a:cxn>
                                  <a:cxn ang="0">
                                    <a:pos x="20" y="148"/>
                                  </a:cxn>
                                  <a:cxn ang="0">
                                    <a:pos x="4" y="142"/>
                                  </a:cxn>
                                  <a:cxn ang="0">
                                    <a:pos x="3" y="130"/>
                                  </a:cxn>
                                  <a:cxn ang="0">
                                    <a:pos x="20" y="119"/>
                                  </a:cxn>
                                  <a:cxn ang="0">
                                    <a:pos x="26" y="109"/>
                                  </a:cxn>
                                  <a:cxn ang="0">
                                    <a:pos x="24" y="101"/>
                                  </a:cxn>
                                  <a:cxn ang="0">
                                    <a:pos x="30" y="94"/>
                                  </a:cxn>
                                  <a:cxn ang="0">
                                    <a:pos x="42" y="81"/>
                                  </a:cxn>
                                  <a:cxn ang="0">
                                    <a:pos x="55" y="82"/>
                                  </a:cxn>
                                  <a:cxn ang="0">
                                    <a:pos x="70" y="72"/>
                                  </a:cxn>
                                  <a:cxn ang="0">
                                    <a:pos x="73" y="66"/>
                                  </a:cxn>
                                  <a:cxn ang="0">
                                    <a:pos x="81" y="56"/>
                                  </a:cxn>
                                  <a:cxn ang="0">
                                    <a:pos x="99" y="37"/>
                                  </a:cxn>
                                  <a:cxn ang="0">
                                    <a:pos x="103" y="29"/>
                                  </a:cxn>
                                  <a:cxn ang="0">
                                    <a:pos x="107" y="24"/>
                                  </a:cxn>
                                  <a:cxn ang="0">
                                    <a:pos x="115" y="21"/>
                                  </a:cxn>
                                  <a:cxn ang="0">
                                    <a:pos x="123" y="27"/>
                                  </a:cxn>
                                  <a:cxn ang="0">
                                    <a:pos x="128" y="29"/>
                                  </a:cxn>
                                  <a:cxn ang="0">
                                    <a:pos x="133" y="35"/>
                                  </a:cxn>
                                  <a:cxn ang="0">
                                    <a:pos x="148" y="37"/>
                                  </a:cxn>
                                  <a:cxn ang="0">
                                    <a:pos x="157" y="29"/>
                                  </a:cxn>
                                  <a:cxn ang="0">
                                    <a:pos x="164" y="22"/>
                                  </a:cxn>
                                  <a:cxn ang="0">
                                    <a:pos x="171" y="20"/>
                                  </a:cxn>
                                  <a:cxn ang="0">
                                    <a:pos x="174" y="27"/>
                                  </a:cxn>
                                  <a:cxn ang="0">
                                    <a:pos x="182" y="26"/>
                                  </a:cxn>
                                  <a:cxn ang="0">
                                    <a:pos x="186" y="20"/>
                                  </a:cxn>
                                  <a:cxn ang="0">
                                    <a:pos x="192" y="15"/>
                                  </a:cxn>
                                  <a:cxn ang="0">
                                    <a:pos x="204" y="6"/>
                                  </a:cxn>
                                </a:cxnLst>
                                <a:rect l="0" t="0" r="r" b="b"/>
                                <a:pathLst>
                                  <a:path w="304" h="172">
                                    <a:moveTo>
                                      <a:pt x="215" y="0"/>
                                    </a:move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7" y="1"/>
                                    </a:lnTo>
                                    <a:lnTo>
                                      <a:pt x="217" y="2"/>
                                    </a:lnTo>
                                    <a:lnTo>
                                      <a:pt x="218" y="2"/>
                                    </a:lnTo>
                                    <a:lnTo>
                                      <a:pt x="218" y="3"/>
                                    </a:lnTo>
                                    <a:lnTo>
                                      <a:pt x="218" y="4"/>
                                    </a:lnTo>
                                    <a:lnTo>
                                      <a:pt x="219" y="4"/>
                                    </a:lnTo>
                                    <a:lnTo>
                                      <a:pt x="219" y="5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7"/>
                                    </a:lnTo>
                                    <a:lnTo>
                                      <a:pt x="219" y="8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10"/>
                                    </a:lnTo>
                                    <a:lnTo>
                                      <a:pt x="218" y="11"/>
                                    </a:lnTo>
                                    <a:lnTo>
                                      <a:pt x="218" y="12"/>
                                    </a:lnTo>
                                    <a:lnTo>
                                      <a:pt x="220" y="12"/>
                                    </a:lnTo>
                                    <a:lnTo>
                                      <a:pt x="221" y="13"/>
                                    </a:lnTo>
                                    <a:lnTo>
                                      <a:pt x="223" y="13"/>
                                    </a:lnTo>
                                    <a:lnTo>
                                      <a:pt x="224" y="13"/>
                                    </a:lnTo>
                                    <a:lnTo>
                                      <a:pt x="227" y="14"/>
                                    </a:lnTo>
                                    <a:lnTo>
                                      <a:pt x="231" y="15"/>
                                    </a:lnTo>
                                    <a:lnTo>
                                      <a:pt x="232" y="15"/>
                                    </a:lnTo>
                                    <a:lnTo>
                                      <a:pt x="234" y="16"/>
                                    </a:lnTo>
                                    <a:lnTo>
                                      <a:pt x="235" y="17"/>
                                    </a:lnTo>
                                    <a:lnTo>
                                      <a:pt x="237" y="17"/>
                                    </a:lnTo>
                                    <a:lnTo>
                                      <a:pt x="238" y="18"/>
                                    </a:lnTo>
                                    <a:lnTo>
                                      <a:pt x="239" y="19"/>
                                    </a:lnTo>
                                    <a:lnTo>
                                      <a:pt x="240" y="20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2" y="22"/>
                                    </a:lnTo>
                                    <a:lnTo>
                                      <a:pt x="242" y="23"/>
                                    </a:lnTo>
                                    <a:lnTo>
                                      <a:pt x="242" y="24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7" y="26"/>
                                    </a:lnTo>
                                    <a:lnTo>
                                      <a:pt x="248" y="25"/>
                                    </a:lnTo>
                                    <a:lnTo>
                                      <a:pt x="248" y="24"/>
                                    </a:lnTo>
                                    <a:lnTo>
                                      <a:pt x="249" y="23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1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8" y="20"/>
                                    </a:lnTo>
                                    <a:lnTo>
                                      <a:pt x="263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5" y="19"/>
                                    </a:lnTo>
                                    <a:lnTo>
                                      <a:pt x="266" y="18"/>
                                    </a:lnTo>
                                    <a:lnTo>
                                      <a:pt x="267" y="17"/>
                                    </a:lnTo>
                                    <a:lnTo>
                                      <a:pt x="268" y="16"/>
                                    </a:lnTo>
                                    <a:lnTo>
                                      <a:pt x="268" y="15"/>
                                    </a:lnTo>
                                    <a:lnTo>
                                      <a:pt x="269" y="14"/>
                                    </a:lnTo>
                                    <a:lnTo>
                                      <a:pt x="270" y="13"/>
                                    </a:lnTo>
                                    <a:lnTo>
                                      <a:pt x="270" y="12"/>
                                    </a:lnTo>
                                    <a:lnTo>
                                      <a:pt x="271" y="10"/>
                                    </a:lnTo>
                                    <a:lnTo>
                                      <a:pt x="271" y="9"/>
                                    </a:lnTo>
                                    <a:lnTo>
                                      <a:pt x="272" y="8"/>
                                    </a:lnTo>
                                    <a:lnTo>
                                      <a:pt x="273" y="7"/>
                                    </a:lnTo>
                                    <a:lnTo>
                                      <a:pt x="274" y="7"/>
                                    </a:lnTo>
                                    <a:lnTo>
                                      <a:pt x="274" y="6"/>
                                    </a:lnTo>
                                    <a:lnTo>
                                      <a:pt x="275" y="6"/>
                                    </a:lnTo>
                                    <a:lnTo>
                                      <a:pt x="276" y="6"/>
                                    </a:lnTo>
                                    <a:lnTo>
                                      <a:pt x="276" y="5"/>
                                    </a:lnTo>
                                    <a:lnTo>
                                      <a:pt x="278" y="5"/>
                                    </a:lnTo>
                                    <a:lnTo>
                                      <a:pt x="280" y="6"/>
                                    </a:lnTo>
                                    <a:lnTo>
                                      <a:pt x="282" y="6"/>
                                    </a:lnTo>
                                    <a:lnTo>
                                      <a:pt x="284" y="7"/>
                                    </a:lnTo>
                                    <a:lnTo>
                                      <a:pt x="285" y="7"/>
                                    </a:lnTo>
                                    <a:lnTo>
                                      <a:pt x="287" y="8"/>
                                    </a:lnTo>
                                    <a:lnTo>
                                      <a:pt x="288" y="9"/>
                                    </a:lnTo>
                                    <a:lnTo>
                                      <a:pt x="289" y="10"/>
                                    </a:lnTo>
                                    <a:lnTo>
                                      <a:pt x="290" y="11"/>
                                    </a:lnTo>
                                    <a:lnTo>
                                      <a:pt x="291" y="12"/>
                                    </a:lnTo>
                                    <a:lnTo>
                                      <a:pt x="292" y="14"/>
                                    </a:lnTo>
                                    <a:lnTo>
                                      <a:pt x="293" y="15"/>
                                    </a:lnTo>
                                    <a:lnTo>
                                      <a:pt x="293" y="17"/>
                                    </a:lnTo>
                                    <a:lnTo>
                                      <a:pt x="294" y="19"/>
                                    </a:lnTo>
                                    <a:lnTo>
                                      <a:pt x="294" y="20"/>
                                    </a:lnTo>
                                    <a:lnTo>
                                      <a:pt x="294" y="22"/>
                                    </a:lnTo>
                                    <a:lnTo>
                                      <a:pt x="294" y="23"/>
                                    </a:lnTo>
                                    <a:lnTo>
                                      <a:pt x="293" y="23"/>
                                    </a:lnTo>
                                    <a:lnTo>
                                      <a:pt x="293" y="24"/>
                                    </a:lnTo>
                                    <a:lnTo>
                                      <a:pt x="292" y="24"/>
                                    </a:lnTo>
                                    <a:lnTo>
                                      <a:pt x="292" y="25"/>
                                    </a:lnTo>
                                    <a:lnTo>
                                      <a:pt x="291" y="25"/>
                                    </a:lnTo>
                                    <a:lnTo>
                                      <a:pt x="291" y="27"/>
                                    </a:lnTo>
                                    <a:lnTo>
                                      <a:pt x="290" y="28"/>
                                    </a:lnTo>
                                    <a:lnTo>
                                      <a:pt x="289" y="29"/>
                                    </a:lnTo>
                                    <a:lnTo>
                                      <a:pt x="289" y="31"/>
                                    </a:lnTo>
                                    <a:lnTo>
                                      <a:pt x="288" y="31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7" y="33"/>
                                    </a:lnTo>
                                    <a:lnTo>
                                      <a:pt x="286" y="33"/>
                                    </a:lnTo>
                                    <a:lnTo>
                                      <a:pt x="285" y="34"/>
                                    </a:lnTo>
                                    <a:lnTo>
                                      <a:pt x="285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8"/>
                                    </a:lnTo>
                                    <a:lnTo>
                                      <a:pt x="284" y="39"/>
                                    </a:lnTo>
                                    <a:lnTo>
                                      <a:pt x="285" y="39"/>
                                    </a:lnTo>
                                    <a:lnTo>
                                      <a:pt x="286" y="40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8" y="42"/>
                                    </a:lnTo>
                                    <a:lnTo>
                                      <a:pt x="288" y="43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5"/>
                                    </a:lnTo>
                                    <a:lnTo>
                                      <a:pt x="290" y="46"/>
                                    </a:lnTo>
                                    <a:lnTo>
                                      <a:pt x="290" y="48"/>
                                    </a:lnTo>
                                    <a:lnTo>
                                      <a:pt x="290" y="50"/>
                                    </a:lnTo>
                                    <a:lnTo>
                                      <a:pt x="290" y="52"/>
                                    </a:lnTo>
                                    <a:lnTo>
                                      <a:pt x="290" y="54"/>
                                    </a:lnTo>
                                    <a:lnTo>
                                      <a:pt x="291" y="56"/>
                                    </a:lnTo>
                                    <a:lnTo>
                                      <a:pt x="291" y="58"/>
                                    </a:lnTo>
                                    <a:lnTo>
                                      <a:pt x="291" y="60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2" y="62"/>
                                    </a:lnTo>
                                    <a:lnTo>
                                      <a:pt x="292" y="63"/>
                                    </a:lnTo>
                                    <a:lnTo>
                                      <a:pt x="292" y="64"/>
                                    </a:lnTo>
                                    <a:lnTo>
                                      <a:pt x="293" y="65"/>
                                    </a:lnTo>
                                    <a:lnTo>
                                      <a:pt x="293" y="66"/>
                                    </a:lnTo>
                                    <a:lnTo>
                                      <a:pt x="294" y="67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4" y="71"/>
                                    </a:lnTo>
                                    <a:lnTo>
                                      <a:pt x="294" y="72"/>
                                    </a:lnTo>
                                    <a:lnTo>
                                      <a:pt x="294" y="73"/>
                                    </a:lnTo>
                                    <a:lnTo>
                                      <a:pt x="293" y="73"/>
                                    </a:lnTo>
                                    <a:lnTo>
                                      <a:pt x="293" y="74"/>
                                    </a:lnTo>
                                    <a:lnTo>
                                      <a:pt x="291" y="76"/>
                                    </a:lnTo>
                                    <a:lnTo>
                                      <a:pt x="291" y="77"/>
                                    </a:lnTo>
                                    <a:lnTo>
                                      <a:pt x="290" y="77"/>
                                    </a:lnTo>
                                    <a:lnTo>
                                      <a:pt x="290" y="78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1"/>
                                    </a:lnTo>
                                    <a:lnTo>
                                      <a:pt x="290" y="82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2" y="84"/>
                                    </a:lnTo>
                                    <a:lnTo>
                                      <a:pt x="293" y="84"/>
                                    </a:lnTo>
                                    <a:lnTo>
                                      <a:pt x="294" y="85"/>
                                    </a:lnTo>
                                    <a:lnTo>
                                      <a:pt x="295" y="86"/>
                                    </a:lnTo>
                                    <a:lnTo>
                                      <a:pt x="295" y="87"/>
                                    </a:lnTo>
                                    <a:lnTo>
                                      <a:pt x="296" y="87"/>
                                    </a:lnTo>
                                    <a:lnTo>
                                      <a:pt x="297" y="88"/>
                                    </a:lnTo>
                                    <a:lnTo>
                                      <a:pt x="297" y="89"/>
                                    </a:lnTo>
                                    <a:lnTo>
                                      <a:pt x="298" y="90"/>
                                    </a:lnTo>
                                    <a:lnTo>
                                      <a:pt x="298" y="91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3"/>
                                    </a:lnTo>
                                    <a:lnTo>
                                      <a:pt x="297" y="93"/>
                                    </a:lnTo>
                                    <a:lnTo>
                                      <a:pt x="297" y="94"/>
                                    </a:lnTo>
                                    <a:lnTo>
                                      <a:pt x="296" y="94"/>
                                    </a:lnTo>
                                    <a:lnTo>
                                      <a:pt x="296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2" y="96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8"/>
                                    </a:lnTo>
                                    <a:lnTo>
                                      <a:pt x="292" y="101"/>
                                    </a:lnTo>
                                    <a:lnTo>
                                      <a:pt x="292" y="103"/>
                                    </a:lnTo>
                                    <a:lnTo>
                                      <a:pt x="292" y="105"/>
                                    </a:lnTo>
                                    <a:lnTo>
                                      <a:pt x="291" y="107"/>
                                    </a:lnTo>
                                    <a:lnTo>
                                      <a:pt x="291" y="110"/>
                                    </a:lnTo>
                                    <a:lnTo>
                                      <a:pt x="291" y="112"/>
                                    </a:lnTo>
                                    <a:lnTo>
                                      <a:pt x="291" y="115"/>
                                    </a:lnTo>
                                    <a:lnTo>
                                      <a:pt x="291" y="117"/>
                                    </a:lnTo>
                                    <a:lnTo>
                                      <a:pt x="292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4" y="116"/>
                                    </a:lnTo>
                                    <a:lnTo>
                                      <a:pt x="295" y="116"/>
                                    </a:lnTo>
                                    <a:lnTo>
                                      <a:pt x="295" y="115"/>
                                    </a:lnTo>
                                    <a:lnTo>
                                      <a:pt x="296" y="115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8" y="114"/>
                                    </a:lnTo>
                                    <a:lnTo>
                                      <a:pt x="299" y="113"/>
                                    </a:lnTo>
                                    <a:lnTo>
                                      <a:pt x="300" y="113"/>
                                    </a:lnTo>
                                    <a:lnTo>
                                      <a:pt x="301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4" y="115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20"/>
                                    </a:lnTo>
                                    <a:lnTo>
                                      <a:pt x="303" y="121"/>
                                    </a:lnTo>
                                    <a:lnTo>
                                      <a:pt x="302" y="122"/>
                                    </a:lnTo>
                                    <a:lnTo>
                                      <a:pt x="302" y="123"/>
                                    </a:lnTo>
                                    <a:lnTo>
                                      <a:pt x="301" y="124"/>
                                    </a:lnTo>
                                    <a:lnTo>
                                      <a:pt x="300" y="125"/>
                                    </a:lnTo>
                                    <a:lnTo>
                                      <a:pt x="300" y="126"/>
                                    </a:lnTo>
                                    <a:lnTo>
                                      <a:pt x="300" y="127"/>
                                    </a:lnTo>
                                    <a:lnTo>
                                      <a:pt x="300" y="128"/>
                                    </a:lnTo>
                                    <a:lnTo>
                                      <a:pt x="299" y="128"/>
                                    </a:lnTo>
                                    <a:lnTo>
                                      <a:pt x="299" y="129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1"/>
                                    </a:lnTo>
                                    <a:lnTo>
                                      <a:pt x="299" y="132"/>
                                    </a:lnTo>
                                    <a:lnTo>
                                      <a:pt x="290" y="132"/>
                                    </a:lnTo>
                                    <a:lnTo>
                                      <a:pt x="281" y="132"/>
                                    </a:lnTo>
                                    <a:lnTo>
                                      <a:pt x="272" y="132"/>
                                    </a:lnTo>
                                    <a:lnTo>
                                      <a:pt x="263" y="132"/>
                                    </a:lnTo>
                                    <a:lnTo>
                                      <a:pt x="260" y="133"/>
                                    </a:lnTo>
                                    <a:lnTo>
                                      <a:pt x="256" y="134"/>
                                    </a:lnTo>
                                    <a:lnTo>
                                      <a:pt x="253" y="136"/>
                                    </a:lnTo>
                                    <a:lnTo>
                                      <a:pt x="250" y="137"/>
                                    </a:lnTo>
                                    <a:lnTo>
                                      <a:pt x="247" y="139"/>
                                    </a:lnTo>
                                    <a:lnTo>
                                      <a:pt x="244" y="140"/>
                                    </a:lnTo>
                                    <a:lnTo>
                                      <a:pt x="243" y="141"/>
                                    </a:lnTo>
                                    <a:lnTo>
                                      <a:pt x="242" y="142"/>
                                    </a:lnTo>
                                    <a:lnTo>
                                      <a:pt x="240" y="143"/>
                                    </a:lnTo>
                                    <a:lnTo>
                                      <a:pt x="239" y="144"/>
                                    </a:lnTo>
                                    <a:lnTo>
                                      <a:pt x="238" y="145"/>
                                    </a:lnTo>
                                    <a:lnTo>
                                      <a:pt x="237" y="146"/>
                                    </a:lnTo>
                                    <a:lnTo>
                                      <a:pt x="236" y="147"/>
                                    </a:lnTo>
                                    <a:lnTo>
                                      <a:pt x="235" y="148"/>
                                    </a:lnTo>
                                    <a:lnTo>
                                      <a:pt x="234" y="150"/>
                                    </a:lnTo>
                                    <a:lnTo>
                                      <a:pt x="233" y="151"/>
                                    </a:lnTo>
                                    <a:lnTo>
                                      <a:pt x="232" y="152"/>
                                    </a:lnTo>
                                    <a:lnTo>
                                      <a:pt x="231" y="153"/>
                                    </a:lnTo>
                                    <a:lnTo>
                                      <a:pt x="230" y="155"/>
                                    </a:lnTo>
                                    <a:lnTo>
                                      <a:pt x="230" y="156"/>
                                    </a:lnTo>
                                    <a:lnTo>
                                      <a:pt x="229" y="157"/>
                                    </a:lnTo>
                                    <a:lnTo>
                                      <a:pt x="229" y="159"/>
                                    </a:lnTo>
                                    <a:lnTo>
                                      <a:pt x="228" y="161"/>
                                    </a:lnTo>
                                    <a:lnTo>
                                      <a:pt x="228" y="162"/>
                                    </a:lnTo>
                                    <a:lnTo>
                                      <a:pt x="228" y="164"/>
                                    </a:lnTo>
                                    <a:lnTo>
                                      <a:pt x="228" y="165"/>
                                    </a:lnTo>
                                    <a:lnTo>
                                      <a:pt x="222" y="166"/>
                                    </a:lnTo>
                                    <a:lnTo>
                                      <a:pt x="216" y="167"/>
                                    </a:lnTo>
                                    <a:lnTo>
                                      <a:pt x="211" y="168"/>
                                    </a:lnTo>
                                    <a:lnTo>
                                      <a:pt x="205" y="168"/>
                                    </a:lnTo>
                                    <a:lnTo>
                                      <a:pt x="199" y="169"/>
                                    </a:lnTo>
                                    <a:lnTo>
                                      <a:pt x="193" y="169"/>
                                    </a:lnTo>
                                    <a:lnTo>
                                      <a:pt x="187" y="170"/>
                                    </a:lnTo>
                                    <a:lnTo>
                                      <a:pt x="181" y="171"/>
                                    </a:lnTo>
                                    <a:lnTo>
                                      <a:pt x="175" y="171"/>
                                    </a:lnTo>
                                    <a:lnTo>
                                      <a:pt x="169" y="171"/>
                                    </a:lnTo>
                                    <a:lnTo>
                                      <a:pt x="163" y="172"/>
                                    </a:lnTo>
                                    <a:lnTo>
                                      <a:pt x="157" y="172"/>
                                    </a:lnTo>
                                    <a:lnTo>
                                      <a:pt x="150" y="172"/>
                                    </a:lnTo>
                                    <a:lnTo>
                                      <a:pt x="144" y="172"/>
                                    </a:lnTo>
                                    <a:lnTo>
                                      <a:pt x="138" y="172"/>
                                    </a:lnTo>
                                    <a:lnTo>
                                      <a:pt x="131" y="172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69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5" y="169"/>
                                    </a:lnTo>
                                    <a:lnTo>
                                      <a:pt x="123" y="169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8" y="169"/>
                                    </a:lnTo>
                                    <a:lnTo>
                                      <a:pt x="112" y="168"/>
                                    </a:lnTo>
                                    <a:lnTo>
                                      <a:pt x="107" y="168"/>
                                    </a:lnTo>
                                    <a:lnTo>
                                      <a:pt x="104" y="168"/>
                                    </a:lnTo>
                                    <a:lnTo>
                                      <a:pt x="102" y="168"/>
                                    </a:lnTo>
                                    <a:lnTo>
                                      <a:pt x="99" y="168"/>
                                    </a:lnTo>
                                    <a:lnTo>
                                      <a:pt x="97" y="168"/>
                                    </a:lnTo>
                                    <a:lnTo>
                                      <a:pt x="94" y="169"/>
                                    </a:lnTo>
                                    <a:lnTo>
                                      <a:pt x="92" y="169"/>
                                    </a:lnTo>
                                    <a:lnTo>
                                      <a:pt x="90" y="169"/>
                                    </a:lnTo>
                                    <a:lnTo>
                                      <a:pt x="89" y="170"/>
                                    </a:lnTo>
                                    <a:lnTo>
                                      <a:pt x="88" y="170"/>
                                    </a:lnTo>
                                    <a:lnTo>
                                      <a:pt x="86" y="170"/>
                                    </a:lnTo>
                                    <a:lnTo>
                                      <a:pt x="84" y="169"/>
                                    </a:lnTo>
                                    <a:lnTo>
                                      <a:pt x="82" y="169"/>
                                    </a:lnTo>
                                    <a:lnTo>
                                      <a:pt x="80" y="169"/>
                                    </a:lnTo>
                                    <a:lnTo>
                                      <a:pt x="78" y="168"/>
                                    </a:lnTo>
                                    <a:lnTo>
                                      <a:pt x="75" y="168"/>
                                    </a:lnTo>
                                    <a:lnTo>
                                      <a:pt x="73" y="168"/>
                                    </a:lnTo>
                                    <a:lnTo>
                                      <a:pt x="71" y="168"/>
                                    </a:lnTo>
                                    <a:lnTo>
                                      <a:pt x="66" y="168"/>
                                    </a:lnTo>
                                    <a:lnTo>
                                      <a:pt x="61" y="168"/>
                                    </a:lnTo>
                                    <a:lnTo>
                                      <a:pt x="58" y="169"/>
                                    </a:lnTo>
                                    <a:lnTo>
                                      <a:pt x="56" y="169"/>
                                    </a:lnTo>
                                    <a:lnTo>
                                      <a:pt x="54" y="169"/>
                                    </a:lnTo>
                                    <a:lnTo>
                                      <a:pt x="51" y="169"/>
                                    </a:lnTo>
                                    <a:lnTo>
                                      <a:pt x="50" y="167"/>
                                    </a:lnTo>
                                    <a:lnTo>
                                      <a:pt x="48" y="166"/>
                                    </a:lnTo>
                                    <a:lnTo>
                                      <a:pt x="46" y="165"/>
                                    </a:lnTo>
                                    <a:lnTo>
                                      <a:pt x="44" y="163"/>
                                    </a:lnTo>
                                    <a:lnTo>
                                      <a:pt x="40" y="161"/>
                                    </a:lnTo>
                                    <a:lnTo>
                                      <a:pt x="36" y="158"/>
                                    </a:lnTo>
                                    <a:lnTo>
                                      <a:pt x="33" y="156"/>
                                    </a:lnTo>
                                    <a:lnTo>
                                      <a:pt x="29" y="154"/>
                                    </a:lnTo>
                                    <a:lnTo>
                                      <a:pt x="27" y="152"/>
                                    </a:lnTo>
                                    <a:lnTo>
                                      <a:pt x="25" y="151"/>
                                    </a:lnTo>
                                    <a:lnTo>
                                      <a:pt x="23" y="150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0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6" y="148"/>
                                    </a:lnTo>
                                    <a:lnTo>
                                      <a:pt x="14" y="147"/>
                                    </a:lnTo>
                                    <a:lnTo>
                                      <a:pt x="12" y="147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9" y="145"/>
                                    </a:lnTo>
                                    <a:lnTo>
                                      <a:pt x="8" y="145"/>
                                    </a:lnTo>
                                    <a:lnTo>
                                      <a:pt x="6" y="144"/>
                                    </a:lnTo>
                                    <a:lnTo>
                                      <a:pt x="5" y="143"/>
                                    </a:lnTo>
                                    <a:lnTo>
                                      <a:pt x="4" y="142"/>
                                    </a:lnTo>
                                    <a:lnTo>
                                      <a:pt x="3" y="141"/>
                                    </a:lnTo>
                                    <a:lnTo>
                                      <a:pt x="2" y="140"/>
                                    </a:lnTo>
                                    <a:lnTo>
                                      <a:pt x="1" y="138"/>
                                    </a:lnTo>
                                    <a:lnTo>
                                      <a:pt x="0" y="137"/>
                                    </a:lnTo>
                                    <a:lnTo>
                                      <a:pt x="0" y="135"/>
                                    </a:lnTo>
                                    <a:lnTo>
                                      <a:pt x="0" y="134"/>
                                    </a:lnTo>
                                    <a:lnTo>
                                      <a:pt x="1" y="133"/>
                                    </a:lnTo>
                                    <a:lnTo>
                                      <a:pt x="2" y="132"/>
                                    </a:lnTo>
                                    <a:lnTo>
                                      <a:pt x="2" y="131"/>
                                    </a:lnTo>
                                    <a:lnTo>
                                      <a:pt x="3" y="130"/>
                                    </a:lnTo>
                                    <a:lnTo>
                                      <a:pt x="4" y="130"/>
                                    </a:lnTo>
                                    <a:lnTo>
                                      <a:pt x="5" y="129"/>
                                    </a:lnTo>
                                    <a:lnTo>
                                      <a:pt x="6" y="128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10" y="126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6" y="122"/>
                                    </a:lnTo>
                                    <a:lnTo>
                                      <a:pt x="18" y="120"/>
                                    </a:lnTo>
                                    <a:lnTo>
                                      <a:pt x="20" y="119"/>
                                    </a:lnTo>
                                    <a:lnTo>
                                      <a:pt x="21" y="118"/>
                                    </a:lnTo>
                                    <a:lnTo>
                                      <a:pt x="22" y="117"/>
                                    </a:lnTo>
                                    <a:lnTo>
                                      <a:pt x="23" y="117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4" y="115"/>
                                    </a:lnTo>
                                    <a:lnTo>
                                      <a:pt x="25" y="114"/>
                                    </a:lnTo>
                                    <a:lnTo>
                                      <a:pt x="25" y="112"/>
                                    </a:lnTo>
                                    <a:lnTo>
                                      <a:pt x="26" y="111"/>
                                    </a:lnTo>
                                    <a:lnTo>
                                      <a:pt x="26" y="110"/>
                                    </a:lnTo>
                                    <a:lnTo>
                                      <a:pt x="26" y="109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5" y="107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5"/>
                                    </a:lnTo>
                                    <a:lnTo>
                                      <a:pt x="25" y="104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1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4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7" y="96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30" y="94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2" y="91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5" y="87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8" y="82"/>
                                    </a:lnTo>
                                    <a:lnTo>
                                      <a:pt x="39" y="82"/>
                                    </a:lnTo>
                                    <a:lnTo>
                                      <a:pt x="40" y="81"/>
                                    </a:lnTo>
                                    <a:lnTo>
                                      <a:pt x="41" y="81"/>
                                    </a:lnTo>
                                    <a:lnTo>
                                      <a:pt x="42" y="81"/>
                                    </a:lnTo>
                                    <a:lnTo>
                                      <a:pt x="43" y="81"/>
                                    </a:lnTo>
                                    <a:lnTo>
                                      <a:pt x="44" y="81"/>
                                    </a:lnTo>
                                    <a:lnTo>
                                      <a:pt x="46" y="82"/>
                                    </a:lnTo>
                                    <a:lnTo>
                                      <a:pt x="47" y="82"/>
                                    </a:lnTo>
                                    <a:lnTo>
                                      <a:pt x="48" y="82"/>
                                    </a:lnTo>
                                    <a:lnTo>
                                      <a:pt x="49" y="82"/>
                                    </a:lnTo>
                                    <a:lnTo>
                                      <a:pt x="51" y="82"/>
                                    </a:lnTo>
                                    <a:lnTo>
                                      <a:pt x="52" y="82"/>
                                    </a:lnTo>
                                    <a:lnTo>
                                      <a:pt x="54" y="82"/>
                                    </a:lnTo>
                                    <a:lnTo>
                                      <a:pt x="55" y="82"/>
                                    </a:lnTo>
                                    <a:lnTo>
                                      <a:pt x="56" y="82"/>
                                    </a:lnTo>
                                    <a:lnTo>
                                      <a:pt x="57" y="81"/>
                                    </a:lnTo>
                                    <a:lnTo>
                                      <a:pt x="58" y="81"/>
                                    </a:lnTo>
                                    <a:lnTo>
                                      <a:pt x="60" y="80"/>
                                    </a:lnTo>
                                    <a:lnTo>
                                      <a:pt x="62" y="78"/>
                                    </a:lnTo>
                                    <a:lnTo>
                                      <a:pt x="64" y="77"/>
                                    </a:lnTo>
                                    <a:lnTo>
                                      <a:pt x="66" y="76"/>
                                    </a:lnTo>
                                    <a:lnTo>
                                      <a:pt x="67" y="74"/>
                                    </a:lnTo>
                                    <a:lnTo>
                                      <a:pt x="69" y="73"/>
                                    </a:lnTo>
                                    <a:lnTo>
                                      <a:pt x="70" y="72"/>
                                    </a:lnTo>
                                    <a:lnTo>
                                      <a:pt x="71" y="72"/>
                                    </a:lnTo>
                                    <a:lnTo>
                                      <a:pt x="71" y="71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69"/>
                                    </a:lnTo>
                                    <a:lnTo>
                                      <a:pt x="71" y="68"/>
                                    </a:lnTo>
                                    <a:lnTo>
                                      <a:pt x="72" y="68"/>
                                    </a:lnTo>
                                    <a:lnTo>
                                      <a:pt x="72" y="67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5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3"/>
                                    </a:lnTo>
                                    <a:lnTo>
                                      <a:pt x="73" y="62"/>
                                    </a:lnTo>
                                    <a:lnTo>
                                      <a:pt x="74" y="61"/>
                                    </a:lnTo>
                                    <a:lnTo>
                                      <a:pt x="75" y="61"/>
                                    </a:lnTo>
                                    <a:lnTo>
                                      <a:pt x="78" y="59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3" y="54"/>
                                    </a:lnTo>
                                    <a:lnTo>
                                      <a:pt x="85" y="53"/>
                                    </a:lnTo>
                                    <a:lnTo>
                                      <a:pt x="86" y="51"/>
                                    </a:lnTo>
                                    <a:lnTo>
                                      <a:pt x="88" y="49"/>
                                    </a:lnTo>
                                    <a:lnTo>
                                      <a:pt x="91" y="45"/>
                                    </a:lnTo>
                                    <a:lnTo>
                                      <a:pt x="93" y="43"/>
                                    </a:lnTo>
                                    <a:lnTo>
                                      <a:pt x="94" y="42"/>
                                    </a:lnTo>
                                    <a:lnTo>
                                      <a:pt x="96" y="40"/>
                                    </a:lnTo>
                                    <a:lnTo>
                                      <a:pt x="98" y="38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4"/>
                                    </a:lnTo>
                                    <a:lnTo>
                                      <a:pt x="101" y="33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2" y="31"/>
                                    </a:lnTo>
                                    <a:lnTo>
                                      <a:pt x="102" y="30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7"/>
                                    </a:lnTo>
                                    <a:lnTo>
                                      <a:pt x="103" y="26"/>
                                    </a:lnTo>
                                    <a:lnTo>
                                      <a:pt x="103" y="25"/>
                                    </a:lnTo>
                                    <a:lnTo>
                                      <a:pt x="104" y="25"/>
                                    </a:lnTo>
                                    <a:lnTo>
                                      <a:pt x="105" y="25"/>
                                    </a:lnTo>
                                    <a:lnTo>
                                      <a:pt x="106" y="25"/>
                                    </a:lnTo>
                                    <a:lnTo>
                                      <a:pt x="107" y="25"/>
                                    </a:lnTo>
                                    <a:lnTo>
                                      <a:pt x="107" y="24"/>
                                    </a:lnTo>
                                    <a:lnTo>
                                      <a:pt x="108" y="24"/>
                                    </a:lnTo>
                                    <a:lnTo>
                                      <a:pt x="109" y="23"/>
                                    </a:lnTo>
                                    <a:lnTo>
                                      <a:pt x="110" y="22"/>
                                    </a:lnTo>
                                    <a:lnTo>
                                      <a:pt x="111" y="22"/>
                                    </a:lnTo>
                                    <a:lnTo>
                                      <a:pt x="111" y="21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3" y="21"/>
                                    </a:lnTo>
                                    <a:lnTo>
                                      <a:pt x="114" y="20"/>
                                    </a:lnTo>
                                    <a:lnTo>
                                      <a:pt x="115" y="20"/>
                                    </a:lnTo>
                                    <a:lnTo>
                                      <a:pt x="115" y="21"/>
                                    </a:lnTo>
                                    <a:lnTo>
                                      <a:pt x="116" y="21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1" y="27"/>
                                    </a:lnTo>
                                    <a:lnTo>
                                      <a:pt x="122" y="27"/>
                                    </a:lnTo>
                                    <a:lnTo>
                                      <a:pt x="123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5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9" y="31"/>
                                    </a:lnTo>
                                    <a:lnTo>
                                      <a:pt x="129" y="32"/>
                                    </a:lnTo>
                                    <a:lnTo>
                                      <a:pt x="130" y="32"/>
                                    </a:lnTo>
                                    <a:lnTo>
                                      <a:pt x="130" y="33"/>
                                    </a:lnTo>
                                    <a:lnTo>
                                      <a:pt x="131" y="34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3" y="35"/>
                                    </a:lnTo>
                                    <a:lnTo>
                                      <a:pt x="134" y="35"/>
                                    </a:lnTo>
                                    <a:lnTo>
                                      <a:pt x="136" y="35"/>
                                    </a:lnTo>
                                    <a:lnTo>
                                      <a:pt x="137" y="35"/>
                                    </a:lnTo>
                                    <a:lnTo>
                                      <a:pt x="138" y="36"/>
                                    </a:lnTo>
                                    <a:lnTo>
                                      <a:pt x="140" y="36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4" y="37"/>
                                    </a:lnTo>
                                    <a:lnTo>
                                      <a:pt x="146" y="37"/>
                                    </a:lnTo>
                                    <a:lnTo>
                                      <a:pt x="147" y="37"/>
                                    </a:lnTo>
                                    <a:lnTo>
                                      <a:pt x="148" y="37"/>
                                    </a:lnTo>
                                    <a:lnTo>
                                      <a:pt x="150" y="37"/>
                                    </a:lnTo>
                                    <a:lnTo>
                                      <a:pt x="151" y="37"/>
                                    </a:lnTo>
                                    <a:lnTo>
                                      <a:pt x="153" y="37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5" y="35"/>
                                    </a:lnTo>
                                    <a:lnTo>
                                      <a:pt x="155" y="34"/>
                                    </a:lnTo>
                                    <a:lnTo>
                                      <a:pt x="156" y="33"/>
                                    </a:lnTo>
                                    <a:lnTo>
                                      <a:pt x="156" y="31"/>
                                    </a:lnTo>
                                    <a:lnTo>
                                      <a:pt x="157" y="29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9" y="24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1" y="22"/>
                                    </a:lnTo>
                                    <a:lnTo>
                                      <a:pt x="162" y="22"/>
                                    </a:lnTo>
                                    <a:lnTo>
                                      <a:pt x="163" y="22"/>
                                    </a:lnTo>
                                    <a:lnTo>
                                      <a:pt x="164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7" y="21"/>
                                    </a:lnTo>
                                    <a:lnTo>
                                      <a:pt x="168" y="20"/>
                                    </a:lnTo>
                                    <a:lnTo>
                                      <a:pt x="169" y="20"/>
                                    </a:lnTo>
                                    <a:lnTo>
                                      <a:pt x="170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20"/>
                                    </a:lnTo>
                                    <a:lnTo>
                                      <a:pt x="171" y="22"/>
                                    </a:lnTo>
                                    <a:lnTo>
                                      <a:pt x="171" y="23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6"/>
                                    </a:lnTo>
                                    <a:lnTo>
                                      <a:pt x="173" y="26"/>
                                    </a:lnTo>
                                    <a:lnTo>
                                      <a:pt x="173" y="27"/>
                                    </a:lnTo>
                                    <a:lnTo>
                                      <a:pt x="174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6" y="27"/>
                                    </a:lnTo>
                                    <a:lnTo>
                                      <a:pt x="177" y="27"/>
                                    </a:lnTo>
                                    <a:lnTo>
                                      <a:pt x="178" y="27"/>
                                    </a:lnTo>
                                    <a:lnTo>
                                      <a:pt x="179" y="27"/>
                                    </a:lnTo>
                                    <a:lnTo>
                                      <a:pt x="180" y="27"/>
                                    </a:lnTo>
                                    <a:lnTo>
                                      <a:pt x="181" y="27"/>
                                    </a:lnTo>
                                    <a:lnTo>
                                      <a:pt x="181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4" y="24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2"/>
                                    </a:lnTo>
                                    <a:lnTo>
                                      <a:pt x="185" y="21"/>
                                    </a:lnTo>
                                    <a:lnTo>
                                      <a:pt x="185" y="20"/>
                                    </a:lnTo>
                                    <a:lnTo>
                                      <a:pt x="186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8" y="20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3" y="14"/>
                                    </a:lnTo>
                                    <a:lnTo>
                                      <a:pt x="194" y="14"/>
                                    </a:lnTo>
                                    <a:lnTo>
                                      <a:pt x="195" y="14"/>
                                    </a:lnTo>
                                    <a:lnTo>
                                      <a:pt x="196" y="13"/>
                                    </a:lnTo>
                                    <a:lnTo>
                                      <a:pt x="197" y="12"/>
                                    </a:lnTo>
                                    <a:lnTo>
                                      <a:pt x="198" y="11"/>
                                    </a:lnTo>
                                    <a:lnTo>
                                      <a:pt x="199" y="10"/>
                                    </a:lnTo>
                                    <a:lnTo>
                                      <a:pt x="201" y="8"/>
                                    </a:lnTo>
                                    <a:lnTo>
                                      <a:pt x="204" y="6"/>
                                    </a:lnTo>
                                    <a:lnTo>
                                      <a:pt x="205" y="5"/>
                                    </a:lnTo>
                                    <a:lnTo>
                                      <a:pt x="206" y="5"/>
                                    </a:lnTo>
                                    <a:lnTo>
                                      <a:pt x="207" y="4"/>
                                    </a:lnTo>
                                    <a:lnTo>
                                      <a:pt x="209" y="3"/>
                                    </a:lnTo>
                                    <a:lnTo>
                                      <a:pt x="210" y="2"/>
                                    </a:lnTo>
                                    <a:lnTo>
                                      <a:pt x="211" y="1"/>
                                    </a:lnTo>
                                    <a:lnTo>
                                      <a:pt x="213" y="1"/>
                                    </a:lnTo>
                                    <a:lnTo>
                                      <a:pt x="215" y="0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952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4" name="Freeform 9">
                                <a:extLst>
                                  <a:ext uri="{FF2B5EF4-FFF2-40B4-BE49-F238E27FC236}">
                                    <a16:creationId xmlns:a16="http://schemas.microsoft.com/office/drawing/2014/main" xmlns="" id="{1D2466B2-1D72-4557-BC30-C360F8259237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53187" y="3121733"/>
                                <a:ext cx="1813547" cy="1177893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5"/>
                                  </a:cxn>
                                  <a:cxn ang="0">
                                    <a:pos x="152" y="18"/>
                                  </a:cxn>
                                  <a:cxn ang="0">
                                    <a:pos x="160" y="17"/>
                                  </a:cxn>
                                  <a:cxn ang="0">
                                    <a:pos x="164" y="26"/>
                                  </a:cxn>
                                  <a:cxn ang="0">
                                    <a:pos x="163" y="42"/>
                                  </a:cxn>
                                  <a:cxn ang="0">
                                    <a:pos x="167" y="48"/>
                                  </a:cxn>
                                  <a:cxn ang="0">
                                    <a:pos x="162" y="56"/>
                                  </a:cxn>
                                  <a:cxn ang="0">
                                    <a:pos x="161" y="77"/>
                                  </a:cxn>
                                  <a:cxn ang="0">
                                    <a:pos x="177" y="89"/>
                                  </a:cxn>
                                  <a:cxn ang="0">
                                    <a:pos x="183" y="104"/>
                                  </a:cxn>
                                  <a:cxn ang="0">
                                    <a:pos x="177" y="109"/>
                                  </a:cxn>
                                  <a:cxn ang="0">
                                    <a:pos x="162" y="97"/>
                                  </a:cxn>
                                  <a:cxn ang="0">
                                    <a:pos x="157" y="99"/>
                                  </a:cxn>
                                  <a:cxn ang="0">
                                    <a:pos x="141" y="95"/>
                                  </a:cxn>
                                  <a:cxn ang="0">
                                    <a:pos x="123" y="98"/>
                                  </a:cxn>
                                  <a:cxn ang="0">
                                    <a:pos x="116" y="93"/>
                                  </a:cxn>
                                  <a:cxn ang="0">
                                    <a:pos x="118" y="88"/>
                                  </a:cxn>
                                  <a:cxn ang="0">
                                    <a:pos x="117" y="80"/>
                                  </a:cxn>
                                  <a:cxn ang="0">
                                    <a:pos x="115" y="69"/>
                                  </a:cxn>
                                  <a:cxn ang="0">
                                    <a:pos x="110" y="65"/>
                                  </a:cxn>
                                  <a:cxn ang="0">
                                    <a:pos x="103" y="63"/>
                                  </a:cxn>
                                  <a:cxn ang="0">
                                    <a:pos x="98" y="66"/>
                                  </a:cxn>
                                  <a:cxn ang="0">
                                    <a:pos x="94" y="65"/>
                                  </a:cxn>
                                  <a:cxn ang="0">
                                    <a:pos x="90" y="63"/>
                                  </a:cxn>
                                  <a:cxn ang="0">
                                    <a:pos x="87" y="59"/>
                                  </a:cxn>
                                  <a:cxn ang="0">
                                    <a:pos x="83" y="57"/>
                                  </a:cxn>
                                  <a:cxn ang="0">
                                    <a:pos x="80" y="55"/>
                                  </a:cxn>
                                  <a:cxn ang="0">
                                    <a:pos x="70" y="55"/>
                                  </a:cxn>
                                  <a:cxn ang="0">
                                    <a:pos x="65" y="58"/>
                                  </a:cxn>
                                  <a:cxn ang="0">
                                    <a:pos x="60" y="59"/>
                                  </a:cxn>
                                  <a:cxn ang="0">
                                    <a:pos x="55" y="60"/>
                                  </a:cxn>
                                  <a:cxn ang="0">
                                    <a:pos x="50" y="62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27" y="65"/>
                                  </a:cxn>
                                  <a:cxn ang="0">
                                    <a:pos x="20" y="60"/>
                                  </a:cxn>
                                  <a:cxn ang="0">
                                    <a:pos x="24" y="58"/>
                                  </a:cxn>
                                  <a:cxn ang="0">
                                    <a:pos x="30" y="60"/>
                                  </a:cxn>
                                  <a:cxn ang="0">
                                    <a:pos x="29" y="51"/>
                                  </a:cxn>
                                  <a:cxn ang="0">
                                    <a:pos x="28" y="42"/>
                                  </a:cxn>
                                  <a:cxn ang="0">
                                    <a:pos x="26" y="34"/>
                                  </a:cxn>
                                  <a:cxn ang="0">
                                    <a:pos x="23" y="27"/>
                                  </a:cxn>
                                  <a:cxn ang="0">
                                    <a:pos x="16" y="20"/>
                                  </a:cxn>
                                  <a:cxn ang="0">
                                    <a:pos x="11" y="18"/>
                                  </a:cxn>
                                  <a:cxn ang="0">
                                    <a:pos x="7" y="16"/>
                                  </a:cxn>
                                  <a:cxn ang="0">
                                    <a:pos x="2" y="17"/>
                                  </a:cxn>
                                  <a:cxn ang="0">
                                    <a:pos x="0" y="11"/>
                                  </a:cxn>
                                  <a:cxn ang="0">
                                    <a:pos x="2" y="5"/>
                                  </a:cxn>
                                  <a:cxn ang="0">
                                    <a:pos x="16" y="7"/>
                                  </a:cxn>
                                  <a:cxn ang="0">
                                    <a:pos x="27" y="6"/>
                                  </a:cxn>
                                  <a:cxn ang="0">
                                    <a:pos x="46" y="13"/>
                                  </a:cxn>
                                  <a:cxn ang="0">
                                    <a:pos x="60" y="14"/>
                                  </a:cxn>
                                  <a:cxn ang="0">
                                    <a:pos x="69" y="8"/>
                                  </a:cxn>
                                  <a:cxn ang="0">
                                    <a:pos x="86" y="5"/>
                                  </a:cxn>
                                  <a:cxn ang="0">
                                    <a:pos x="100" y="4"/>
                                  </a:cxn>
                                  <a:cxn ang="0">
                                    <a:pos x="105" y="7"/>
                                  </a:cxn>
                                  <a:cxn ang="0">
                                    <a:pos x="113" y="16"/>
                                  </a:cxn>
                                  <a:cxn ang="0">
                                    <a:pos x="120" y="9"/>
                                  </a:cxn>
                                  <a:cxn ang="0">
                                    <a:pos x="123" y="3"/>
                                  </a:cxn>
                                  <a:cxn ang="0">
                                    <a:pos x="133" y="2"/>
                                  </a:cxn>
                                </a:cxnLst>
                                <a:rect l="0" t="0" r="r" b="b"/>
                                <a:pathLst>
                                  <a:path w="183" h="110">
                                    <a:moveTo>
                                      <a:pt x="138" y="2"/>
                                    </a:moveTo>
                                    <a:lnTo>
                                      <a:pt x="138" y="2"/>
                                    </a:lnTo>
                                    <a:lnTo>
                                      <a:pt x="138" y="2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9" y="3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1" y="4"/>
                                    </a:lnTo>
                                    <a:lnTo>
                                      <a:pt x="142" y="4"/>
                                    </a:lnTo>
                                    <a:lnTo>
                                      <a:pt x="142" y="5"/>
                                    </a:lnTo>
                                    <a:lnTo>
                                      <a:pt x="143" y="5"/>
                                    </a:lnTo>
                                    <a:lnTo>
                                      <a:pt x="144" y="6"/>
                                    </a:lnTo>
                                    <a:lnTo>
                                      <a:pt x="145" y="7"/>
                                    </a:lnTo>
                                    <a:lnTo>
                                      <a:pt x="146" y="9"/>
                                    </a:lnTo>
                                    <a:lnTo>
                                      <a:pt x="146" y="10"/>
                                    </a:lnTo>
                                    <a:lnTo>
                                      <a:pt x="148" y="12"/>
                                    </a:lnTo>
                                    <a:lnTo>
                                      <a:pt x="148" y="14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6"/>
                                    </a:lnTo>
                                    <a:lnTo>
                                      <a:pt x="151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4" y="18"/>
                                    </a:lnTo>
                                    <a:lnTo>
                                      <a:pt x="154" y="17"/>
                                    </a:lnTo>
                                    <a:lnTo>
                                      <a:pt x="155" y="17"/>
                                    </a:lnTo>
                                    <a:lnTo>
                                      <a:pt x="156" y="17"/>
                                    </a:lnTo>
                                    <a:lnTo>
                                      <a:pt x="157" y="17"/>
                                    </a:lnTo>
                                    <a:lnTo>
                                      <a:pt x="158" y="17"/>
                                    </a:lnTo>
                                    <a:lnTo>
                                      <a:pt x="159" y="17"/>
                                    </a:lnTo>
                                    <a:lnTo>
                                      <a:pt x="160" y="17"/>
                                    </a:lnTo>
                                    <a:lnTo>
                                      <a:pt x="161" y="18"/>
                                    </a:lnTo>
                                    <a:lnTo>
                                      <a:pt x="162" y="18"/>
                                    </a:lnTo>
                                    <a:lnTo>
                                      <a:pt x="163" y="19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5" y="24"/>
                                    </a:lnTo>
                                    <a:lnTo>
                                      <a:pt x="164" y="26"/>
                                    </a:lnTo>
                                    <a:lnTo>
                                      <a:pt x="164" y="28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3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2" y="35"/>
                                    </a:lnTo>
                                    <a:lnTo>
                                      <a:pt x="162" y="36"/>
                                    </a:lnTo>
                                    <a:lnTo>
                                      <a:pt x="162" y="37"/>
                                    </a:lnTo>
                                    <a:lnTo>
                                      <a:pt x="163" y="39"/>
                                    </a:lnTo>
                                    <a:lnTo>
                                      <a:pt x="163" y="40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7" y="47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50"/>
                                    </a:lnTo>
                                    <a:lnTo>
                                      <a:pt x="166" y="51"/>
                                    </a:lnTo>
                                    <a:lnTo>
                                      <a:pt x="165" y="51"/>
                                    </a:lnTo>
                                    <a:lnTo>
                                      <a:pt x="164" y="52"/>
                                    </a:lnTo>
                                    <a:lnTo>
                                      <a:pt x="164" y="53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5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2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1" y="61"/>
                                    </a:lnTo>
                                    <a:lnTo>
                                      <a:pt x="161" y="62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1" y="68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61" y="75"/>
                                    </a:lnTo>
                                    <a:lnTo>
                                      <a:pt x="161" y="77"/>
                                    </a:lnTo>
                                    <a:lnTo>
                                      <a:pt x="161" y="80"/>
                                    </a:lnTo>
                                    <a:lnTo>
                                      <a:pt x="163" y="81"/>
                                    </a:lnTo>
                                    <a:lnTo>
                                      <a:pt x="164" y="82"/>
                                    </a:lnTo>
                                    <a:lnTo>
                                      <a:pt x="165" y="83"/>
                                    </a:lnTo>
                                    <a:lnTo>
                                      <a:pt x="167" y="84"/>
                                    </a:lnTo>
                                    <a:lnTo>
                                      <a:pt x="168" y="84"/>
                                    </a:lnTo>
                                    <a:lnTo>
                                      <a:pt x="170" y="85"/>
                                    </a:lnTo>
                                    <a:lnTo>
                                      <a:pt x="173" y="87"/>
                                    </a:lnTo>
                                    <a:lnTo>
                                      <a:pt x="174" y="87"/>
                                    </a:lnTo>
                                    <a:lnTo>
                                      <a:pt x="176" y="88"/>
                                    </a:lnTo>
                                    <a:lnTo>
                                      <a:pt x="177" y="89"/>
                                    </a:lnTo>
                                    <a:lnTo>
                                      <a:pt x="179" y="90"/>
                                    </a:lnTo>
                                    <a:lnTo>
                                      <a:pt x="180" y="91"/>
                                    </a:lnTo>
                                    <a:lnTo>
                                      <a:pt x="181" y="92"/>
                                    </a:lnTo>
                                    <a:lnTo>
                                      <a:pt x="182" y="94"/>
                                    </a:lnTo>
                                    <a:lnTo>
                                      <a:pt x="183" y="95"/>
                                    </a:lnTo>
                                    <a:lnTo>
                                      <a:pt x="183" y="96"/>
                                    </a:lnTo>
                                    <a:lnTo>
                                      <a:pt x="183" y="97"/>
                                    </a:lnTo>
                                    <a:lnTo>
                                      <a:pt x="183" y="99"/>
                                    </a:lnTo>
                                    <a:lnTo>
                                      <a:pt x="183" y="101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3" y="105"/>
                                    </a:lnTo>
                                    <a:lnTo>
                                      <a:pt x="183" y="106"/>
                                    </a:lnTo>
                                    <a:lnTo>
                                      <a:pt x="183" y="107"/>
                                    </a:lnTo>
                                    <a:lnTo>
                                      <a:pt x="182" y="108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1" y="110"/>
                                    </a:lnTo>
                                    <a:lnTo>
                                      <a:pt x="180" y="110"/>
                                    </a:lnTo>
                                    <a:lnTo>
                                      <a:pt x="179" y="110"/>
                                    </a:lnTo>
                                    <a:lnTo>
                                      <a:pt x="178" y="110"/>
                                    </a:lnTo>
                                    <a:lnTo>
                                      <a:pt x="177" y="109"/>
                                    </a:lnTo>
                                    <a:lnTo>
                                      <a:pt x="175" y="109"/>
                                    </a:lnTo>
                                    <a:lnTo>
                                      <a:pt x="174" y="108"/>
                                    </a:lnTo>
                                    <a:lnTo>
                                      <a:pt x="172" y="107"/>
                                    </a:lnTo>
                                    <a:lnTo>
                                      <a:pt x="171" y="107"/>
                                    </a:lnTo>
                                    <a:lnTo>
                                      <a:pt x="169" y="106"/>
                                    </a:lnTo>
                                    <a:lnTo>
                                      <a:pt x="168" y="105"/>
                                    </a:lnTo>
                                    <a:lnTo>
                                      <a:pt x="167" y="103"/>
                                    </a:lnTo>
                                    <a:lnTo>
                                      <a:pt x="166" y="102"/>
                                    </a:lnTo>
                                    <a:lnTo>
                                      <a:pt x="165" y="101"/>
                                    </a:lnTo>
                                    <a:lnTo>
                                      <a:pt x="164" y="100"/>
                                    </a:lnTo>
                                    <a:lnTo>
                                      <a:pt x="162" y="97"/>
                                    </a:lnTo>
                                    <a:lnTo>
                                      <a:pt x="161" y="96"/>
                                    </a:lnTo>
                                    <a:lnTo>
                                      <a:pt x="160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8" y="95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7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9"/>
                                    </a:lnTo>
                                    <a:lnTo>
                                      <a:pt x="156" y="99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1" y="99"/>
                                    </a:lnTo>
                                    <a:lnTo>
                                      <a:pt x="148" y="98"/>
                                    </a:lnTo>
                                    <a:lnTo>
                                      <a:pt x="146" y="97"/>
                                    </a:lnTo>
                                    <a:lnTo>
                                      <a:pt x="144" y="96"/>
                                    </a:lnTo>
                                    <a:lnTo>
                                      <a:pt x="143" y="96"/>
                                    </a:lnTo>
                                    <a:lnTo>
                                      <a:pt x="141" y="95"/>
                                    </a:lnTo>
                                    <a:lnTo>
                                      <a:pt x="139" y="96"/>
                                    </a:lnTo>
                                    <a:lnTo>
                                      <a:pt x="136" y="97"/>
                                    </a:lnTo>
                                    <a:lnTo>
                                      <a:pt x="135" y="97"/>
                                    </a:lnTo>
                                    <a:lnTo>
                                      <a:pt x="134" y="97"/>
                                    </a:lnTo>
                                    <a:lnTo>
                                      <a:pt x="132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29" y="98"/>
                                    </a:lnTo>
                                    <a:lnTo>
                                      <a:pt x="128" y="98"/>
                                    </a:lnTo>
                                    <a:lnTo>
                                      <a:pt x="126" y="98"/>
                                    </a:lnTo>
                                    <a:lnTo>
                                      <a:pt x="125" y="98"/>
                                    </a:lnTo>
                                    <a:lnTo>
                                      <a:pt x="123" y="98"/>
                                    </a:lnTo>
                                    <a:lnTo>
                                      <a:pt x="121" y="98"/>
                                    </a:lnTo>
                                    <a:lnTo>
                                      <a:pt x="120" y="98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7" y="95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6" y="94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2"/>
                                    </a:lnTo>
                                    <a:lnTo>
                                      <a:pt x="116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8"/>
                                    </a:lnTo>
                                    <a:lnTo>
                                      <a:pt x="118" y="87"/>
                                    </a:lnTo>
                                    <a:lnTo>
                                      <a:pt x="118" y="85"/>
                                    </a:lnTo>
                                    <a:lnTo>
                                      <a:pt x="118" y="83"/>
                                    </a:lnTo>
                                    <a:lnTo>
                                      <a:pt x="118" y="82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6" y="80"/>
                                    </a:lnTo>
                                    <a:lnTo>
                                      <a:pt x="116" y="77"/>
                                    </a:lnTo>
                                    <a:lnTo>
                                      <a:pt x="116" y="76"/>
                                    </a:lnTo>
                                    <a:lnTo>
                                      <a:pt x="116" y="75"/>
                                    </a:lnTo>
                                    <a:lnTo>
                                      <a:pt x="116" y="74"/>
                                    </a:lnTo>
                                    <a:lnTo>
                                      <a:pt x="116" y="73"/>
                                    </a:lnTo>
                                    <a:lnTo>
                                      <a:pt x="116" y="72"/>
                                    </a:lnTo>
                                    <a:lnTo>
                                      <a:pt x="116" y="71"/>
                                    </a:lnTo>
                                    <a:lnTo>
                                      <a:pt x="116" y="70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69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3" y="67"/>
                                    </a:lnTo>
                                    <a:lnTo>
                                      <a:pt x="112" y="67"/>
                                    </a:lnTo>
                                    <a:lnTo>
                                      <a:pt x="111" y="67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09" y="65"/>
                                    </a:lnTo>
                                    <a:lnTo>
                                      <a:pt x="108" y="65"/>
                                    </a:lnTo>
                                    <a:lnTo>
                                      <a:pt x="107" y="64"/>
                                    </a:lnTo>
                                    <a:lnTo>
                                      <a:pt x="106" y="64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2" y="63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0" y="64"/>
                                    </a:lnTo>
                                    <a:lnTo>
                                      <a:pt x="100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7"/>
                                    </a:lnTo>
                                    <a:lnTo>
                                      <a:pt x="97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5" y="67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2" y="65"/>
                                    </a:lnTo>
                                    <a:lnTo>
                                      <a:pt x="92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1"/>
                                    </a:lnTo>
                                    <a:lnTo>
                                      <a:pt x="88" y="60"/>
                                    </a:lnTo>
                                    <a:lnTo>
                                      <a:pt x="87" y="60"/>
                                    </a:lnTo>
                                    <a:lnTo>
                                      <a:pt x="87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5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1" y="57"/>
                                    </a:lnTo>
                                    <a:lnTo>
                                      <a:pt x="82" y="56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78" y="55"/>
                                    </a:lnTo>
                                    <a:lnTo>
                                      <a:pt x="76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7"/>
                                    </a:lnTo>
                                    <a:lnTo>
                                      <a:pt x="69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6" y="57"/>
                                    </a:lnTo>
                                    <a:lnTo>
                                      <a:pt x="65" y="57"/>
                                    </a:lnTo>
                                    <a:lnTo>
                                      <a:pt x="65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2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0" y="58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59" y="60"/>
                                    </a:lnTo>
                                    <a:lnTo>
                                      <a:pt x="58" y="60"/>
                                    </a:lnTo>
                                    <a:lnTo>
                                      <a:pt x="57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2"/>
                                    </a:lnTo>
                                    <a:lnTo>
                                      <a:pt x="54" y="62"/>
                                    </a:lnTo>
                                    <a:lnTo>
                                      <a:pt x="53" y="62"/>
                                    </a:lnTo>
                                    <a:lnTo>
                                      <a:pt x="52" y="62"/>
                                    </a:lnTo>
                                    <a:lnTo>
                                      <a:pt x="51" y="62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49" y="64"/>
                                    </a:lnTo>
                                    <a:lnTo>
                                      <a:pt x="48" y="64"/>
                                    </a:lnTo>
                                    <a:lnTo>
                                      <a:pt x="46" y="64"/>
                                    </a:lnTo>
                                    <a:lnTo>
                                      <a:pt x="45" y="65"/>
                                    </a:lnTo>
                                    <a:lnTo>
                                      <a:pt x="43" y="65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39" y="65"/>
                                    </a:lnTo>
                                    <a:lnTo>
                                      <a:pt x="36" y="65"/>
                                    </a:lnTo>
                                    <a:lnTo>
                                      <a:pt x="35" y="65"/>
                                    </a:lnTo>
                                    <a:lnTo>
                                      <a:pt x="33" y="65"/>
                                    </a:lnTo>
                                    <a:lnTo>
                                      <a:pt x="32" y="65"/>
                                    </a:lnTo>
                                    <a:lnTo>
                                      <a:pt x="30" y="66"/>
                                    </a:lnTo>
                                    <a:lnTo>
                                      <a:pt x="29" y="66"/>
                                    </a:lnTo>
                                    <a:lnTo>
                                      <a:pt x="28" y="67"/>
                                    </a:lnTo>
                                    <a:lnTo>
                                      <a:pt x="28" y="66"/>
                                    </a:lnTo>
                                    <a:lnTo>
                                      <a:pt x="28" y="65"/>
                                    </a:lnTo>
                                    <a:lnTo>
                                      <a:pt x="27" y="65"/>
                                    </a:lnTo>
                                    <a:lnTo>
                                      <a:pt x="27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5" y="64"/>
                                    </a:lnTo>
                                    <a:lnTo>
                                      <a:pt x="25" y="63"/>
                                    </a:lnTo>
                                    <a:lnTo>
                                      <a:pt x="24" y="63"/>
                                    </a:lnTo>
                                    <a:lnTo>
                                      <a:pt x="23" y="62"/>
                                    </a:lnTo>
                                    <a:lnTo>
                                      <a:pt x="22" y="62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8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2" y="57"/>
                                    </a:lnTo>
                                    <a:lnTo>
                                      <a:pt x="23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5" y="59"/>
                                    </a:lnTo>
                                    <a:lnTo>
                                      <a:pt x="26" y="59"/>
                                    </a:lnTo>
                                    <a:lnTo>
                                      <a:pt x="26" y="60"/>
                                    </a:lnTo>
                                    <a:lnTo>
                                      <a:pt x="27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30" y="60"/>
                                    </a:lnTo>
                                    <a:lnTo>
                                      <a:pt x="30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8"/>
                                    </a:lnTo>
                                    <a:lnTo>
                                      <a:pt x="31" y="57"/>
                                    </a:lnTo>
                                    <a:lnTo>
                                      <a:pt x="31" y="56"/>
                                    </a:lnTo>
                                    <a:lnTo>
                                      <a:pt x="31" y="55"/>
                                    </a:lnTo>
                                    <a:lnTo>
                                      <a:pt x="31" y="54"/>
                                    </a:lnTo>
                                    <a:lnTo>
                                      <a:pt x="31" y="53"/>
                                    </a:lnTo>
                                    <a:lnTo>
                                      <a:pt x="30" y="52"/>
                                    </a:lnTo>
                                    <a:lnTo>
                                      <a:pt x="29" y="51"/>
                                    </a:lnTo>
                                    <a:lnTo>
                                      <a:pt x="29" y="50"/>
                                    </a:lnTo>
                                    <a:lnTo>
                                      <a:pt x="29" y="49"/>
                                    </a:lnTo>
                                    <a:lnTo>
                                      <a:pt x="28" y="49"/>
                                    </a:lnTo>
                                    <a:lnTo>
                                      <a:pt x="28" y="48"/>
                                    </a:lnTo>
                                    <a:lnTo>
                                      <a:pt x="28" y="47"/>
                                    </a:lnTo>
                                    <a:lnTo>
                                      <a:pt x="28" y="46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6" y="42"/>
                                    </a:lnTo>
                                    <a:lnTo>
                                      <a:pt x="26" y="40"/>
                                    </a:lnTo>
                                    <a:lnTo>
                                      <a:pt x="26" y="38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3"/>
                                    </a:lnTo>
                                    <a:lnTo>
                                      <a:pt x="25" y="33"/>
                                    </a:lnTo>
                                    <a:lnTo>
                                      <a:pt x="25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3" y="32"/>
                                    </a:lnTo>
                                    <a:lnTo>
                                      <a:pt x="23" y="30"/>
                                    </a:lnTo>
                                    <a:lnTo>
                                      <a:pt x="23" y="29"/>
                                    </a:lnTo>
                                    <a:lnTo>
                                      <a:pt x="23" y="28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3" y="26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4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0" y="22"/>
                                    </a:lnTo>
                                    <a:lnTo>
                                      <a:pt x="19" y="22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3" y="19"/>
                                    </a:lnTo>
                                    <a:lnTo>
                                      <a:pt x="13" y="18"/>
                                    </a:lnTo>
                                    <a:lnTo>
                                      <a:pt x="12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7"/>
                                    </a:lnTo>
                                    <a:lnTo>
                                      <a:pt x="10" y="17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6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4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6"/>
                                    </a:lnTo>
                                    <a:lnTo>
                                      <a:pt x="2" y="15"/>
                                    </a:lnTo>
                                    <a:lnTo>
                                      <a:pt x="2" y="14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9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7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13" y="5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4" y="6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5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8" y="7"/>
                                    </a:lnTo>
                                    <a:lnTo>
                                      <a:pt x="19" y="7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1" y="6"/>
                                    </a:lnTo>
                                    <a:lnTo>
                                      <a:pt x="21" y="7"/>
                                    </a:lnTo>
                                    <a:lnTo>
                                      <a:pt x="23" y="6"/>
                                    </a:lnTo>
                                    <a:lnTo>
                                      <a:pt x="25" y="6"/>
                                    </a:lnTo>
                                    <a:lnTo>
                                      <a:pt x="26" y="6"/>
                                    </a:lnTo>
                                    <a:lnTo>
                                      <a:pt x="27" y="6"/>
                                    </a:lnTo>
                                    <a:lnTo>
                                      <a:pt x="29" y="7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1" y="7"/>
                                    </a:lnTo>
                                    <a:lnTo>
                                      <a:pt x="32" y="7"/>
                                    </a:lnTo>
                                    <a:lnTo>
                                      <a:pt x="34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40" y="11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4" y="12"/>
                                    </a:lnTo>
                                    <a:lnTo>
                                      <a:pt x="46" y="13"/>
                                    </a:lnTo>
                                    <a:lnTo>
                                      <a:pt x="48" y="14"/>
                                    </a:lnTo>
                                    <a:lnTo>
                                      <a:pt x="49" y="14"/>
                                    </a:lnTo>
                                    <a:lnTo>
                                      <a:pt x="50" y="14"/>
                                    </a:lnTo>
                                    <a:lnTo>
                                      <a:pt x="51" y="15"/>
                                    </a:lnTo>
                                    <a:lnTo>
                                      <a:pt x="53" y="15"/>
                                    </a:lnTo>
                                    <a:lnTo>
                                      <a:pt x="54" y="15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6" y="15"/>
                                    </a:lnTo>
                                    <a:lnTo>
                                      <a:pt x="58" y="15"/>
                                    </a:lnTo>
                                    <a:lnTo>
                                      <a:pt x="59" y="15"/>
                                    </a:lnTo>
                                    <a:lnTo>
                                      <a:pt x="60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2" y="13"/>
                                    </a:lnTo>
                                    <a:lnTo>
                                      <a:pt x="63" y="13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6" y="9"/>
                                    </a:lnTo>
                                    <a:lnTo>
                                      <a:pt x="67" y="9"/>
                                    </a:lnTo>
                                    <a:lnTo>
                                      <a:pt x="68" y="9"/>
                                    </a:lnTo>
                                    <a:lnTo>
                                      <a:pt x="69" y="8"/>
                                    </a:lnTo>
                                    <a:lnTo>
                                      <a:pt x="70" y="8"/>
                                    </a:lnTo>
                                    <a:lnTo>
                                      <a:pt x="73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8" y="8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2" y="7"/>
                                    </a:lnTo>
                                    <a:lnTo>
                                      <a:pt x="83" y="7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4"/>
                                    </a:lnTo>
                                    <a:lnTo>
                                      <a:pt x="88" y="4"/>
                                    </a:lnTo>
                                    <a:lnTo>
                                      <a:pt x="90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3"/>
                                    </a:lnTo>
                                    <a:lnTo>
                                      <a:pt x="95" y="3"/>
                                    </a:lnTo>
                                    <a:lnTo>
                                      <a:pt x="97" y="3"/>
                                    </a:lnTo>
                                    <a:lnTo>
                                      <a:pt x="98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2" y="5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6"/>
                                    </a:lnTo>
                                    <a:lnTo>
                                      <a:pt x="105" y="7"/>
                                    </a:lnTo>
                                    <a:lnTo>
                                      <a:pt x="106" y="8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8" y="11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5" y="16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8" y="11"/>
                                    </a:lnTo>
                                    <a:lnTo>
                                      <a:pt x="120" y="9"/>
                                    </a:lnTo>
                                    <a:lnTo>
                                      <a:pt x="121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1"/>
                                    </a:lnTo>
                                    <a:lnTo>
                                      <a:pt x="125" y="1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8" y="0"/>
                                    </a:lnTo>
                                    <a:lnTo>
                                      <a:pt x="129" y="1"/>
                                    </a:lnTo>
                                    <a:lnTo>
                                      <a:pt x="130" y="1"/>
                                    </a:lnTo>
                                    <a:lnTo>
                                      <a:pt x="131" y="1"/>
                                    </a:lnTo>
                                    <a:lnTo>
                                      <a:pt x="133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5" y="2"/>
                                    </a:lnTo>
                                    <a:lnTo>
                                      <a:pt x="136" y="2"/>
                                    </a:lnTo>
                                    <a:lnTo>
                                      <a:pt x="137" y="2"/>
                                    </a:lnTo>
                                    <a:lnTo>
                                      <a:pt x="138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5" name="Freeform 10">
                                <a:extLst>
                                  <a:ext uri="{FF2B5EF4-FFF2-40B4-BE49-F238E27FC236}">
                                    <a16:creationId xmlns:a16="http://schemas.microsoft.com/office/drawing/2014/main" xmlns="" id="{CB218101-6135-48A5-9144-92C2DDD7B721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870303" y="3824969"/>
                                <a:ext cx="1905841" cy="155413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6"/>
                                  </a:cxn>
                                  <a:cxn ang="0">
                                    <a:pos x="161" y="6"/>
                                  </a:cxn>
                                  <a:cxn ang="0">
                                    <a:pos x="176" y="26"/>
                                  </a:cxn>
                                  <a:cxn ang="0">
                                    <a:pos x="181" y="32"/>
                                  </a:cxn>
                                  <a:cxn ang="0">
                                    <a:pos x="186" y="35"/>
                                  </a:cxn>
                                  <a:cxn ang="0">
                                    <a:pos x="185" y="43"/>
                                  </a:cxn>
                                  <a:cxn ang="0">
                                    <a:pos x="191" y="44"/>
                                  </a:cxn>
                                  <a:cxn ang="0">
                                    <a:pos x="191" y="49"/>
                                  </a:cxn>
                                  <a:cxn ang="0">
                                    <a:pos x="189" y="49"/>
                                  </a:cxn>
                                  <a:cxn ang="0">
                                    <a:pos x="186" y="48"/>
                                  </a:cxn>
                                  <a:cxn ang="0">
                                    <a:pos x="183" y="50"/>
                                  </a:cxn>
                                  <a:cxn ang="0">
                                    <a:pos x="178" y="50"/>
                                  </a:cxn>
                                  <a:cxn ang="0">
                                    <a:pos x="173" y="47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3" y="51"/>
                                  </a:cxn>
                                  <a:cxn ang="0">
                                    <a:pos x="158" y="53"/>
                                  </a:cxn>
                                  <a:cxn ang="0">
                                    <a:pos x="155" y="55"/>
                                  </a:cxn>
                                  <a:cxn ang="0">
                                    <a:pos x="151" y="56"/>
                                  </a:cxn>
                                  <a:cxn ang="0">
                                    <a:pos x="148" y="58"/>
                                  </a:cxn>
                                  <a:cxn ang="0">
                                    <a:pos x="139" y="64"/>
                                  </a:cxn>
                                  <a:cxn ang="0">
                                    <a:pos x="137" y="68"/>
                                  </a:cxn>
                                  <a:cxn ang="0">
                                    <a:pos x="140" y="74"/>
                                  </a:cxn>
                                  <a:cxn ang="0">
                                    <a:pos x="148" y="75"/>
                                  </a:cxn>
                                  <a:cxn ang="0">
                                    <a:pos x="146" y="79"/>
                                  </a:cxn>
                                  <a:cxn ang="0">
                                    <a:pos x="148" y="87"/>
                                  </a:cxn>
                                  <a:cxn ang="0">
                                    <a:pos x="155" y="102"/>
                                  </a:cxn>
                                  <a:cxn ang="0">
                                    <a:pos x="158" y="106"/>
                                  </a:cxn>
                                  <a:cxn ang="0">
                                    <a:pos x="161" y="110"/>
                                  </a:cxn>
                                  <a:cxn ang="0">
                                    <a:pos x="162" y="118"/>
                                  </a:cxn>
                                  <a:cxn ang="0">
                                    <a:pos x="164" y="120"/>
                                  </a:cxn>
                                  <a:cxn ang="0">
                                    <a:pos x="157" y="123"/>
                                  </a:cxn>
                                  <a:cxn ang="0">
                                    <a:pos x="158" y="129"/>
                                  </a:cxn>
                                  <a:cxn ang="0">
                                    <a:pos x="154" y="130"/>
                                  </a:cxn>
                                  <a:cxn ang="0">
                                    <a:pos x="153" y="137"/>
                                  </a:cxn>
                                  <a:cxn ang="0">
                                    <a:pos x="156" y="145"/>
                                  </a:cxn>
                                  <a:cxn ang="0">
                                    <a:pos x="151" y="144"/>
                                  </a:cxn>
                                  <a:cxn ang="0">
                                    <a:pos x="144" y="142"/>
                                  </a:cxn>
                                  <a:cxn ang="0">
                                    <a:pos x="133" y="139"/>
                                  </a:cxn>
                                  <a:cxn ang="0">
                                    <a:pos x="118" y="137"/>
                                  </a:cxn>
                                  <a:cxn ang="0">
                                    <a:pos x="105" y="137"/>
                                  </a:cxn>
                                  <a:cxn ang="0">
                                    <a:pos x="92" y="137"/>
                                  </a:cxn>
                                  <a:cxn ang="0">
                                    <a:pos x="83" y="137"/>
                                  </a:cxn>
                                  <a:cxn ang="0">
                                    <a:pos x="75" y="138"/>
                                  </a:cxn>
                                  <a:cxn ang="0">
                                    <a:pos x="72" y="139"/>
                                  </a:cxn>
                                  <a:cxn ang="0">
                                    <a:pos x="66" y="140"/>
                                  </a:cxn>
                                  <a:cxn ang="0">
                                    <a:pos x="54" y="142"/>
                                  </a:cxn>
                                  <a:cxn ang="0">
                                    <a:pos x="50" y="144"/>
                                  </a:cxn>
                                  <a:cxn ang="0">
                                    <a:pos x="44" y="143"/>
                                  </a:cxn>
                                  <a:cxn ang="0">
                                    <a:pos x="39" y="128"/>
                                  </a:cxn>
                                  <a:cxn ang="0">
                                    <a:pos x="30" y="106"/>
                                  </a:cxn>
                                  <a:cxn ang="0">
                                    <a:pos x="11" y="91"/>
                                  </a:cxn>
                                  <a:cxn ang="0">
                                    <a:pos x="0" y="69"/>
                                  </a:cxn>
                                  <a:cxn ang="0">
                                    <a:pos x="2" y="48"/>
                                  </a:cxn>
                                  <a:cxn ang="0">
                                    <a:pos x="14" y="34"/>
                                  </a:cxn>
                                  <a:cxn ang="0">
                                    <a:pos x="67" y="24"/>
                                  </a:cxn>
                                  <a:cxn ang="0">
                                    <a:pos x="74" y="15"/>
                                  </a:cxn>
                                  <a:cxn ang="0">
                                    <a:pos x="76" y="7"/>
                                  </a:cxn>
                                  <a:cxn ang="0">
                                    <a:pos x="87" y="0"/>
                                  </a:cxn>
                                  <a:cxn ang="0">
                                    <a:pos x="109" y="3"/>
                                  </a:cxn>
                                  <a:cxn ang="0">
                                    <a:pos x="121" y="4"/>
                                  </a:cxn>
                                  <a:cxn ang="0">
                                    <a:pos x="125" y="3"/>
                                  </a:cxn>
                                </a:cxnLst>
                                <a:rect l="0" t="0" r="r" b="b"/>
                                <a:pathLst>
                                  <a:path w="192" h="145">
                                    <a:moveTo>
                                      <a:pt x="127" y="2"/>
                                    </a:moveTo>
                                    <a:lnTo>
                                      <a:pt x="127" y="2"/>
                                    </a:lnTo>
                                    <a:lnTo>
                                      <a:pt x="127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9" y="2"/>
                                    </a:lnTo>
                                    <a:lnTo>
                                      <a:pt x="130" y="2"/>
                                    </a:lnTo>
                                    <a:lnTo>
                                      <a:pt x="134" y="4"/>
                                    </a:lnTo>
                                    <a:lnTo>
                                      <a:pt x="136" y="4"/>
                                    </a:lnTo>
                                    <a:lnTo>
                                      <a:pt x="138" y="5"/>
                                    </a:lnTo>
                                    <a:lnTo>
                                      <a:pt x="140" y="6"/>
                                    </a:lnTo>
                                    <a:lnTo>
                                      <a:pt x="142" y="6"/>
                                    </a:lnTo>
                                    <a:lnTo>
                                      <a:pt x="144" y="7"/>
                                    </a:lnTo>
                                    <a:lnTo>
                                      <a:pt x="146" y="7"/>
                                    </a:lnTo>
                                    <a:lnTo>
                                      <a:pt x="149" y="8"/>
                                    </a:lnTo>
                                    <a:lnTo>
                                      <a:pt x="151" y="8"/>
                                    </a:lnTo>
                                    <a:lnTo>
                                      <a:pt x="153" y="8"/>
                                    </a:lnTo>
                                    <a:lnTo>
                                      <a:pt x="155" y="8"/>
                                    </a:lnTo>
                                    <a:lnTo>
                                      <a:pt x="156" y="8"/>
                                    </a:lnTo>
                                    <a:lnTo>
                                      <a:pt x="157" y="7"/>
                                    </a:lnTo>
                                    <a:lnTo>
                                      <a:pt x="158" y="7"/>
                                    </a:lnTo>
                                    <a:lnTo>
                                      <a:pt x="159" y="7"/>
                                    </a:lnTo>
                                    <a:lnTo>
                                      <a:pt x="160" y="7"/>
                                    </a:lnTo>
                                    <a:lnTo>
                                      <a:pt x="161" y="6"/>
                                    </a:lnTo>
                                    <a:lnTo>
                                      <a:pt x="162" y="6"/>
                                    </a:lnTo>
                                    <a:lnTo>
                                      <a:pt x="163" y="6"/>
                                    </a:lnTo>
                                    <a:lnTo>
                                      <a:pt x="164" y="7"/>
                                    </a:lnTo>
                                    <a:lnTo>
                                      <a:pt x="165" y="9"/>
                                    </a:lnTo>
                                    <a:lnTo>
                                      <a:pt x="165" y="10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7" y="14"/>
                                    </a:lnTo>
                                    <a:lnTo>
                                      <a:pt x="168" y="15"/>
                                    </a:lnTo>
                                    <a:lnTo>
                                      <a:pt x="170" y="18"/>
                                    </a:lnTo>
                                    <a:lnTo>
                                      <a:pt x="172" y="21"/>
                                    </a:lnTo>
                                    <a:lnTo>
                                      <a:pt x="174" y="24"/>
                                    </a:lnTo>
                                    <a:lnTo>
                                      <a:pt x="176" y="26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2"/>
                                    </a:lnTo>
                                    <a:lnTo>
                                      <a:pt x="181" y="32"/>
                                    </a:lnTo>
                                    <a:lnTo>
                                      <a:pt x="181" y="33"/>
                                    </a:lnTo>
                                    <a:lnTo>
                                      <a:pt x="182" y="33"/>
                                    </a:lnTo>
                                    <a:lnTo>
                                      <a:pt x="183" y="34"/>
                                    </a:lnTo>
                                    <a:lnTo>
                                      <a:pt x="184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7" y="37"/>
                                    </a:lnTo>
                                    <a:lnTo>
                                      <a:pt x="187" y="39"/>
                                    </a:lnTo>
                                    <a:lnTo>
                                      <a:pt x="187" y="41"/>
                                    </a:lnTo>
                                    <a:lnTo>
                                      <a:pt x="187" y="42"/>
                                    </a:lnTo>
                                    <a:lnTo>
                                      <a:pt x="186" y="42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7" y="44"/>
                                    </a:lnTo>
                                    <a:lnTo>
                                      <a:pt x="188" y="44"/>
                                    </a:lnTo>
                                    <a:lnTo>
                                      <a:pt x="189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2" y="44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7"/>
                                    </a:lnTo>
                                    <a:lnTo>
                                      <a:pt x="191" y="47"/>
                                    </a:lnTo>
                                    <a:lnTo>
                                      <a:pt x="191" y="48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3" y="49"/>
                                    </a:lnTo>
                                    <a:lnTo>
                                      <a:pt x="183" y="50"/>
                                    </a:lnTo>
                                    <a:lnTo>
                                      <a:pt x="182" y="50"/>
                                    </a:lnTo>
                                    <a:lnTo>
                                      <a:pt x="181" y="50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0" y="51"/>
                                    </a:lnTo>
                                    <a:lnTo>
                                      <a:pt x="180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6" y="50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3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9"/>
                                    </a:lnTo>
                                    <a:lnTo>
                                      <a:pt x="169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4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2" y="51"/>
                                    </a:lnTo>
                                    <a:lnTo>
                                      <a:pt x="161" y="51"/>
                                    </a:lnTo>
                                    <a:lnTo>
                                      <a:pt x="161" y="52"/>
                                    </a:lnTo>
                                    <a:lnTo>
                                      <a:pt x="160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8" y="52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6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1" y="56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7" y="60"/>
                                    </a:lnTo>
                                    <a:lnTo>
                                      <a:pt x="145" y="60"/>
                                    </a:lnTo>
                                    <a:lnTo>
                                      <a:pt x="144" y="61"/>
                                    </a:lnTo>
                                    <a:lnTo>
                                      <a:pt x="142" y="61"/>
                                    </a:lnTo>
                                    <a:lnTo>
                                      <a:pt x="142" y="62"/>
                                    </a:lnTo>
                                    <a:lnTo>
                                      <a:pt x="141" y="62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7" y="70"/>
                                    </a:lnTo>
                                    <a:lnTo>
                                      <a:pt x="137" y="71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40" y="74"/>
                                    </a:lnTo>
                                    <a:lnTo>
                                      <a:pt x="141" y="74"/>
                                    </a:lnTo>
                                    <a:lnTo>
                                      <a:pt x="142" y="74"/>
                                    </a:lnTo>
                                    <a:lnTo>
                                      <a:pt x="143" y="74"/>
                                    </a:lnTo>
                                    <a:lnTo>
                                      <a:pt x="144" y="74"/>
                                    </a:lnTo>
                                    <a:lnTo>
                                      <a:pt x="145" y="74"/>
                                    </a:lnTo>
                                    <a:lnTo>
                                      <a:pt x="146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9" y="75"/>
                                    </a:lnTo>
                                    <a:lnTo>
                                      <a:pt x="149" y="76"/>
                                    </a:lnTo>
                                    <a:lnTo>
                                      <a:pt x="148" y="76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9"/>
                                    </a:lnTo>
                                    <a:lnTo>
                                      <a:pt x="146" y="80"/>
                                    </a:lnTo>
                                    <a:lnTo>
                                      <a:pt x="146" y="82"/>
                                    </a:lnTo>
                                    <a:lnTo>
                                      <a:pt x="146" y="84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9"/>
                                    </a:lnTo>
                                    <a:lnTo>
                                      <a:pt x="149" y="90"/>
                                    </a:lnTo>
                                    <a:lnTo>
                                      <a:pt x="149" y="91"/>
                                    </a:lnTo>
                                    <a:lnTo>
                                      <a:pt x="149" y="92"/>
                                    </a:lnTo>
                                    <a:lnTo>
                                      <a:pt x="150" y="93"/>
                                    </a:lnTo>
                                    <a:lnTo>
                                      <a:pt x="150" y="94"/>
                                    </a:lnTo>
                                    <a:lnTo>
                                      <a:pt x="151" y="95"/>
                                    </a:lnTo>
                                    <a:lnTo>
                                      <a:pt x="152" y="96"/>
                                    </a:lnTo>
                                    <a:lnTo>
                                      <a:pt x="153" y="98"/>
                                    </a:lnTo>
                                    <a:lnTo>
                                      <a:pt x="154" y="100"/>
                                    </a:lnTo>
                                    <a:lnTo>
                                      <a:pt x="155" y="101"/>
                                    </a:lnTo>
                                    <a:lnTo>
                                      <a:pt x="155" y="102"/>
                                    </a:lnTo>
                                    <a:lnTo>
                                      <a:pt x="156" y="103"/>
                                    </a:lnTo>
                                    <a:lnTo>
                                      <a:pt x="157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8"/>
                                    </a:lnTo>
                                    <a:lnTo>
                                      <a:pt x="160" y="108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2"/>
                                    </a:lnTo>
                                    <a:lnTo>
                                      <a:pt x="162" y="114"/>
                                    </a:lnTo>
                                    <a:lnTo>
                                      <a:pt x="162" y="115"/>
                                    </a:lnTo>
                                    <a:lnTo>
                                      <a:pt x="162" y="116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61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2" y="120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0" y="121"/>
                                    </a:lnTo>
                                    <a:lnTo>
                                      <a:pt x="159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6" y="124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3" y="130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2"/>
                                    </a:lnTo>
                                    <a:lnTo>
                                      <a:pt x="153" y="133"/>
                                    </a:lnTo>
                                    <a:lnTo>
                                      <a:pt x="153" y="135"/>
                                    </a:lnTo>
                                    <a:lnTo>
                                      <a:pt x="153" y="136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8"/>
                                    </a:lnTo>
                                    <a:lnTo>
                                      <a:pt x="154" y="139"/>
                                    </a:lnTo>
                                    <a:lnTo>
                                      <a:pt x="154" y="140"/>
                                    </a:lnTo>
                                    <a:lnTo>
                                      <a:pt x="155" y="141"/>
                                    </a:lnTo>
                                    <a:lnTo>
                                      <a:pt x="155" y="142"/>
                                    </a:lnTo>
                                    <a:lnTo>
                                      <a:pt x="156" y="143"/>
                                    </a:lnTo>
                                    <a:lnTo>
                                      <a:pt x="156" y="144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7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4" y="145"/>
                                    </a:lnTo>
                                    <a:lnTo>
                                      <a:pt x="153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1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0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7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3" y="142"/>
                                    </a:lnTo>
                                    <a:lnTo>
                                      <a:pt x="141" y="142"/>
                                    </a:lnTo>
                                    <a:lnTo>
                                      <a:pt x="140" y="142"/>
                                    </a:lnTo>
                                    <a:lnTo>
                                      <a:pt x="138" y="142"/>
                                    </a:lnTo>
                                    <a:lnTo>
                                      <a:pt x="137" y="142"/>
                                    </a:lnTo>
                                    <a:lnTo>
                                      <a:pt x="136" y="142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4" y="141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28" y="137"/>
                                    </a:lnTo>
                                    <a:lnTo>
                                      <a:pt x="125" y="137"/>
                                    </a:lnTo>
                                    <a:lnTo>
                                      <a:pt x="121" y="137"/>
                                    </a:lnTo>
                                    <a:lnTo>
                                      <a:pt x="118" y="137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4" y="136"/>
                                    </a:lnTo>
                                    <a:lnTo>
                                      <a:pt x="112" y="136"/>
                                    </a:lnTo>
                                    <a:lnTo>
                                      <a:pt x="110" y="136"/>
                                    </a:lnTo>
                                    <a:lnTo>
                                      <a:pt x="107" y="137"/>
                                    </a:lnTo>
                                    <a:lnTo>
                                      <a:pt x="105" y="137"/>
                                    </a:lnTo>
                                    <a:lnTo>
                                      <a:pt x="102" y="137"/>
                                    </a:lnTo>
                                    <a:lnTo>
                                      <a:pt x="101" y="137"/>
                                    </a:lnTo>
                                    <a:lnTo>
                                      <a:pt x="99" y="137"/>
                                    </a:lnTo>
                                    <a:lnTo>
                                      <a:pt x="98" y="137"/>
                                    </a:lnTo>
                                    <a:lnTo>
                                      <a:pt x="97" y="137"/>
                                    </a:lnTo>
                                    <a:lnTo>
                                      <a:pt x="96" y="137"/>
                                    </a:lnTo>
                                    <a:lnTo>
                                      <a:pt x="95" y="137"/>
                                    </a:lnTo>
                                    <a:lnTo>
                                      <a:pt x="94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9"/>
                                    </a:lnTo>
                                    <a:lnTo>
                                      <a:pt x="90" y="139"/>
                                    </a:lnTo>
                                    <a:lnTo>
                                      <a:pt x="89" y="139"/>
                                    </a:lnTo>
                                    <a:lnTo>
                                      <a:pt x="88" y="139"/>
                                    </a:lnTo>
                                    <a:lnTo>
                                      <a:pt x="87" y="139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4" y="138"/>
                                    </a:lnTo>
                                    <a:lnTo>
                                      <a:pt x="83" y="137"/>
                                    </a:lnTo>
                                    <a:lnTo>
                                      <a:pt x="82" y="137"/>
                                    </a:lnTo>
                                    <a:lnTo>
                                      <a:pt x="81" y="137"/>
                                    </a:lnTo>
                                    <a:lnTo>
                                      <a:pt x="80" y="137"/>
                                    </a:lnTo>
                                    <a:lnTo>
                                      <a:pt x="79" y="137"/>
                                    </a:lnTo>
                                    <a:lnTo>
                                      <a:pt x="78" y="137"/>
                                    </a:lnTo>
                                    <a:lnTo>
                                      <a:pt x="77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8" y="140"/>
                                    </a:lnTo>
                                    <a:lnTo>
                                      <a:pt x="67" y="140"/>
                                    </a:lnTo>
                                    <a:lnTo>
                                      <a:pt x="66" y="140"/>
                                    </a:lnTo>
                                    <a:lnTo>
                                      <a:pt x="64" y="140"/>
                                    </a:lnTo>
                                    <a:lnTo>
                                      <a:pt x="61" y="140"/>
                                    </a:lnTo>
                                    <a:lnTo>
                                      <a:pt x="60" y="140"/>
                                    </a:lnTo>
                                    <a:lnTo>
                                      <a:pt x="59" y="140"/>
                                    </a:lnTo>
                                    <a:lnTo>
                                      <a:pt x="58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6" y="141"/>
                                    </a:lnTo>
                                    <a:lnTo>
                                      <a:pt x="55" y="141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1" y="144"/>
                                    </a:lnTo>
                                    <a:lnTo>
                                      <a:pt x="51" y="143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49" y="145"/>
                                    </a:lnTo>
                                    <a:lnTo>
                                      <a:pt x="48" y="145"/>
                                    </a:lnTo>
                                    <a:lnTo>
                                      <a:pt x="46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3"/>
                                    </a:lnTo>
                                    <a:lnTo>
                                      <a:pt x="43" y="143"/>
                                    </a:lnTo>
                                    <a:lnTo>
                                      <a:pt x="43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3" y="139"/>
                                    </a:lnTo>
                                    <a:lnTo>
                                      <a:pt x="43" y="137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4"/>
                                    </a:lnTo>
                                    <a:lnTo>
                                      <a:pt x="42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0" y="130"/>
                                    </a:lnTo>
                                    <a:lnTo>
                                      <a:pt x="40" y="129"/>
                                    </a:lnTo>
                                    <a:lnTo>
                                      <a:pt x="39" y="128"/>
                                    </a:lnTo>
                                    <a:lnTo>
                                      <a:pt x="38" y="126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3"/>
                                    </a:lnTo>
                                    <a:lnTo>
                                      <a:pt x="36" y="120"/>
                                    </a:lnTo>
                                    <a:lnTo>
                                      <a:pt x="35" y="117"/>
                                    </a:lnTo>
                                    <a:lnTo>
                                      <a:pt x="34" y="114"/>
                                    </a:lnTo>
                                    <a:lnTo>
                                      <a:pt x="33" y="111"/>
                                    </a:lnTo>
                                    <a:lnTo>
                                      <a:pt x="33" y="110"/>
                                    </a:lnTo>
                                    <a:lnTo>
                                      <a:pt x="32" y="109"/>
                                    </a:lnTo>
                                    <a:lnTo>
                                      <a:pt x="32" y="108"/>
                                    </a:lnTo>
                                    <a:lnTo>
                                      <a:pt x="31" y="107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29" y="105"/>
                                    </a:lnTo>
                                    <a:lnTo>
                                      <a:pt x="28" y="105"/>
                                    </a:lnTo>
                                    <a:lnTo>
                                      <a:pt x="27" y="104"/>
                                    </a:lnTo>
                                    <a:lnTo>
                                      <a:pt x="26" y="104"/>
                                    </a:lnTo>
                                    <a:lnTo>
                                      <a:pt x="24" y="103"/>
                                    </a:lnTo>
                                    <a:lnTo>
                                      <a:pt x="22" y="103"/>
                                    </a:lnTo>
                                    <a:lnTo>
                                      <a:pt x="20" y="102"/>
                                    </a:lnTo>
                                    <a:lnTo>
                                      <a:pt x="18" y="100"/>
                                    </a:lnTo>
                                    <a:lnTo>
                                      <a:pt x="16" y="98"/>
                                    </a:lnTo>
                                    <a:lnTo>
                                      <a:pt x="13" y="93"/>
                                    </a:lnTo>
                                    <a:lnTo>
                                      <a:pt x="11" y="91"/>
                                    </a:lnTo>
                                    <a:lnTo>
                                      <a:pt x="9" y="89"/>
                                    </a:lnTo>
                                    <a:lnTo>
                                      <a:pt x="7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4" y="80"/>
                                    </a:lnTo>
                                    <a:lnTo>
                                      <a:pt x="3" y="78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0" y="69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0" y="57"/>
                                    </a:lnTo>
                                    <a:lnTo>
                                      <a:pt x="0" y="55"/>
                                    </a:lnTo>
                                    <a:lnTo>
                                      <a:pt x="0" y="54"/>
                                    </a:lnTo>
                                    <a:lnTo>
                                      <a:pt x="1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2" y="48"/>
                                    </a:lnTo>
                                    <a:lnTo>
                                      <a:pt x="3" y="47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3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8" y="39"/>
                                    </a:lnTo>
                                    <a:lnTo>
                                      <a:pt x="9" y="38"/>
                                    </a:lnTo>
                                    <a:lnTo>
                                      <a:pt x="10" y="37"/>
                                    </a:lnTo>
                                    <a:lnTo>
                                      <a:pt x="11" y="36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4" y="34"/>
                                    </a:lnTo>
                                    <a:lnTo>
                                      <a:pt x="15" y="33"/>
                                    </a:lnTo>
                                    <a:lnTo>
                                      <a:pt x="16" y="32"/>
                                    </a:lnTo>
                                    <a:lnTo>
                                      <a:pt x="19" y="30"/>
                                    </a:lnTo>
                                    <a:lnTo>
                                      <a:pt x="22" y="29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32" y="25"/>
                                    </a:lnTo>
                                    <a:lnTo>
                                      <a:pt x="35" y="24"/>
                                    </a:lnTo>
                                    <a:lnTo>
                                      <a:pt x="44" y="24"/>
                                    </a:lnTo>
                                    <a:lnTo>
                                      <a:pt x="53" y="24"/>
                                    </a:lnTo>
                                    <a:lnTo>
                                      <a:pt x="62" y="24"/>
                                    </a:lnTo>
                                    <a:lnTo>
                                      <a:pt x="67" y="24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2" y="23"/>
                                    </a:lnTo>
                                    <a:lnTo>
                                      <a:pt x="71" y="22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7"/>
                                    </a:lnTo>
                                    <a:lnTo>
                                      <a:pt x="73" y="16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5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9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2"/>
                                    </a:lnTo>
                                    <a:lnTo>
                                      <a:pt x="81" y="2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1"/>
                                    </a:lnTo>
                                    <a:lnTo>
                                      <a:pt x="84" y="0"/>
                                    </a:lnTo>
                                    <a:lnTo>
                                      <a:pt x="85" y="0"/>
                                    </a:lnTo>
                                    <a:lnTo>
                                      <a:pt x="87" y="0"/>
                                    </a:lnTo>
                                    <a:lnTo>
                                      <a:pt x="88" y="0"/>
                                    </a:lnTo>
                                    <a:lnTo>
                                      <a:pt x="89" y="0"/>
                                    </a:lnTo>
                                    <a:lnTo>
                                      <a:pt x="91" y="0"/>
                                    </a:lnTo>
                                    <a:lnTo>
                                      <a:pt x="92" y="0"/>
                                    </a:lnTo>
                                    <a:lnTo>
                                      <a:pt x="93" y="0"/>
                                    </a:lnTo>
                                    <a:lnTo>
                                      <a:pt x="95" y="0"/>
                                    </a:lnTo>
                                    <a:lnTo>
                                      <a:pt x="96" y="0"/>
                                    </a:lnTo>
                                    <a:lnTo>
                                      <a:pt x="98" y="0"/>
                                    </a:lnTo>
                                    <a:lnTo>
                                      <a:pt x="100" y="1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9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4" y="5"/>
                                    </a:lnTo>
                                    <a:lnTo>
                                      <a:pt x="117" y="6"/>
                                    </a:lnTo>
                                    <a:lnTo>
                                      <a:pt x="117" y="5"/>
                                    </a:lnTo>
                                    <a:lnTo>
                                      <a:pt x="118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20" y="5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6" y="2"/>
                                    </a:lnTo>
                                    <a:lnTo>
                                      <a:pt x="127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accent1">
                                    <a:lumMod val="20000"/>
                                    <a:lumOff val="8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6" name="Freeform 11">
                                <a:extLst>
                                  <a:ext uri="{FF2B5EF4-FFF2-40B4-BE49-F238E27FC236}">
                                    <a16:creationId xmlns:a16="http://schemas.microsoft.com/office/drawing/2014/main" xmlns="" id="{54DCCEAC-F83C-4906-B26A-D32663C51912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2633143" y="3847100"/>
                                <a:ext cx="1968138" cy="179020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07" y="35"/>
                                  </a:cxn>
                                  <a:cxn ang="0">
                                    <a:pos x="125" y="42"/>
                                  </a:cxn>
                                  <a:cxn ang="0">
                                    <a:pos x="152" y="58"/>
                                  </a:cxn>
                                  <a:cxn ang="0">
                                    <a:pos x="180" y="59"/>
                                  </a:cxn>
                                  <a:cxn ang="0">
                                    <a:pos x="185" y="69"/>
                                  </a:cxn>
                                  <a:cxn ang="0">
                                    <a:pos x="183" y="80"/>
                                  </a:cxn>
                                  <a:cxn ang="0">
                                    <a:pos x="189" y="87"/>
                                  </a:cxn>
                                  <a:cxn ang="0">
                                    <a:pos x="190" y="110"/>
                                  </a:cxn>
                                  <a:cxn ang="0">
                                    <a:pos x="198" y="117"/>
                                  </a:cxn>
                                  <a:cxn ang="0">
                                    <a:pos x="197" y="131"/>
                                  </a:cxn>
                                  <a:cxn ang="0">
                                    <a:pos x="193" y="139"/>
                                  </a:cxn>
                                  <a:cxn ang="0">
                                    <a:pos x="195" y="145"/>
                                  </a:cxn>
                                  <a:cxn ang="0">
                                    <a:pos x="165" y="163"/>
                                  </a:cxn>
                                  <a:cxn ang="0">
                                    <a:pos x="160" y="156"/>
                                  </a:cxn>
                                  <a:cxn ang="0">
                                    <a:pos x="161" y="151"/>
                                  </a:cxn>
                                  <a:cxn ang="0">
                                    <a:pos x="159" y="149"/>
                                  </a:cxn>
                                  <a:cxn ang="0">
                                    <a:pos x="157" y="150"/>
                                  </a:cxn>
                                  <a:cxn ang="0">
                                    <a:pos x="151" y="151"/>
                                  </a:cxn>
                                  <a:cxn ang="0">
                                    <a:pos x="151" y="147"/>
                                  </a:cxn>
                                  <a:cxn ang="0">
                                    <a:pos x="147" y="140"/>
                                  </a:cxn>
                                  <a:cxn ang="0">
                                    <a:pos x="144" y="137"/>
                                  </a:cxn>
                                  <a:cxn ang="0">
                                    <a:pos x="139" y="134"/>
                                  </a:cxn>
                                  <a:cxn ang="0">
                                    <a:pos x="135" y="129"/>
                                  </a:cxn>
                                  <a:cxn ang="0">
                                    <a:pos x="132" y="125"/>
                                  </a:cxn>
                                  <a:cxn ang="0">
                                    <a:pos x="129" y="127"/>
                                  </a:cxn>
                                  <a:cxn ang="0">
                                    <a:pos x="125" y="129"/>
                                  </a:cxn>
                                  <a:cxn ang="0">
                                    <a:pos x="118" y="132"/>
                                  </a:cxn>
                                  <a:cxn ang="0">
                                    <a:pos x="113" y="130"/>
                                  </a:cxn>
                                  <a:cxn ang="0">
                                    <a:pos x="99" y="128"/>
                                  </a:cxn>
                                  <a:cxn ang="0">
                                    <a:pos x="93" y="127"/>
                                  </a:cxn>
                                  <a:cxn ang="0">
                                    <a:pos x="88" y="128"/>
                                  </a:cxn>
                                  <a:cxn ang="0">
                                    <a:pos x="78" y="129"/>
                                  </a:cxn>
                                  <a:cxn ang="0">
                                    <a:pos x="65" y="128"/>
                                  </a:cxn>
                                  <a:cxn ang="0">
                                    <a:pos x="61" y="124"/>
                                  </a:cxn>
                                  <a:cxn ang="0">
                                    <a:pos x="59" y="121"/>
                                  </a:cxn>
                                  <a:cxn ang="0">
                                    <a:pos x="56" y="116"/>
                                  </a:cxn>
                                  <a:cxn ang="0">
                                    <a:pos x="51" y="110"/>
                                  </a:cxn>
                                  <a:cxn ang="0">
                                    <a:pos x="50" y="102"/>
                                  </a:cxn>
                                  <a:cxn ang="0">
                                    <a:pos x="46" y="99"/>
                                  </a:cxn>
                                  <a:cxn ang="0">
                                    <a:pos x="42" y="97"/>
                                  </a:cxn>
                                  <a:cxn ang="0">
                                    <a:pos x="38" y="92"/>
                                  </a:cxn>
                                  <a:cxn ang="0">
                                    <a:pos x="35" y="90"/>
                                  </a:cxn>
                                  <a:cxn ang="0">
                                    <a:pos x="28" y="84"/>
                                  </a:cxn>
                                  <a:cxn ang="0">
                                    <a:pos x="24" y="82"/>
                                  </a:cxn>
                                  <a:cxn ang="0">
                                    <a:pos x="20" y="77"/>
                                  </a:cxn>
                                  <a:cxn ang="0">
                                    <a:pos x="17" y="75"/>
                                  </a:cxn>
                                  <a:cxn ang="0">
                                    <a:pos x="10" y="69"/>
                                  </a:cxn>
                                  <a:cxn ang="0">
                                    <a:pos x="7" y="67"/>
                                  </a:cxn>
                                  <a:cxn ang="0">
                                    <a:pos x="2" y="63"/>
                                  </a:cxn>
                                  <a:cxn ang="0">
                                    <a:pos x="0" y="59"/>
                                  </a:cxn>
                                  <a:cxn ang="0">
                                    <a:pos x="8" y="49"/>
                                  </a:cxn>
                                  <a:cxn ang="0">
                                    <a:pos x="18" y="41"/>
                                  </a:cxn>
                                  <a:cxn ang="0">
                                    <a:pos x="35" y="26"/>
                                  </a:cxn>
                                  <a:cxn ang="0">
                                    <a:pos x="44" y="18"/>
                                  </a:cxn>
                                  <a:cxn ang="0">
                                    <a:pos x="51" y="20"/>
                                  </a:cxn>
                                  <a:cxn ang="0">
                                    <a:pos x="59" y="5"/>
                                  </a:cxn>
                                  <a:cxn ang="0">
                                    <a:pos x="70" y="1"/>
                                  </a:cxn>
                                  <a:cxn ang="0">
                                    <a:pos x="81" y="11"/>
                                  </a:cxn>
                                  <a:cxn ang="0">
                                    <a:pos x="92" y="24"/>
                                  </a:cxn>
                                </a:cxnLst>
                                <a:rect l="0" t="0" r="r" b="b"/>
                                <a:pathLst>
                                  <a:path w="198" h="167">
                                    <a:moveTo>
                                      <a:pt x="98" y="25"/>
                                    </a:moveTo>
                                    <a:lnTo>
                                      <a:pt x="99" y="27"/>
                                    </a:lnTo>
                                    <a:lnTo>
                                      <a:pt x="99" y="28"/>
                                    </a:lnTo>
                                    <a:lnTo>
                                      <a:pt x="100" y="30"/>
                                    </a:lnTo>
                                    <a:lnTo>
                                      <a:pt x="101" y="31"/>
                                    </a:lnTo>
                                    <a:lnTo>
                                      <a:pt x="102" y="32"/>
                                    </a:lnTo>
                                    <a:lnTo>
                                      <a:pt x="103" y="33"/>
                                    </a:lnTo>
                                    <a:lnTo>
                                      <a:pt x="104" y="34"/>
                                    </a:lnTo>
                                    <a:lnTo>
                                      <a:pt x="106" y="35"/>
                                    </a:lnTo>
                                    <a:lnTo>
                                      <a:pt x="107" y="35"/>
                                    </a:lnTo>
                                    <a:lnTo>
                                      <a:pt x="109" y="36"/>
                                    </a:lnTo>
                                    <a:lnTo>
                                      <a:pt x="110" y="37"/>
                                    </a:lnTo>
                                    <a:lnTo>
                                      <a:pt x="112" y="37"/>
                                    </a:lnTo>
                                    <a:lnTo>
                                      <a:pt x="114" y="38"/>
                                    </a:lnTo>
                                    <a:lnTo>
                                      <a:pt x="116" y="38"/>
                                    </a:lnTo>
                                    <a:lnTo>
                                      <a:pt x="118" y="38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1" y="40"/>
                                    </a:lnTo>
                                    <a:lnTo>
                                      <a:pt x="123" y="41"/>
                                    </a:lnTo>
                                    <a:lnTo>
                                      <a:pt x="125" y="42"/>
                                    </a:lnTo>
                                    <a:lnTo>
                                      <a:pt x="127" y="44"/>
                                    </a:lnTo>
                                    <a:lnTo>
                                      <a:pt x="131" y="46"/>
                                    </a:lnTo>
                                    <a:lnTo>
                                      <a:pt x="134" y="48"/>
                                    </a:lnTo>
                                    <a:lnTo>
                                      <a:pt x="138" y="51"/>
                                    </a:lnTo>
                                    <a:lnTo>
                                      <a:pt x="142" y="53"/>
                                    </a:lnTo>
                                    <a:lnTo>
                                      <a:pt x="144" y="54"/>
                                    </a:lnTo>
                                    <a:lnTo>
                                      <a:pt x="146" y="56"/>
                                    </a:lnTo>
                                    <a:lnTo>
                                      <a:pt x="148" y="57"/>
                                    </a:lnTo>
                                    <a:lnTo>
                                      <a:pt x="149" y="58"/>
                                    </a:lnTo>
                                    <a:lnTo>
                                      <a:pt x="152" y="58"/>
                                    </a:lnTo>
                                    <a:lnTo>
                                      <a:pt x="154" y="58"/>
                                    </a:lnTo>
                                    <a:lnTo>
                                      <a:pt x="157" y="58"/>
                                    </a:lnTo>
                                    <a:lnTo>
                                      <a:pt x="159" y="58"/>
                                    </a:lnTo>
                                    <a:lnTo>
                                      <a:pt x="164" y="58"/>
                                    </a:lnTo>
                                    <a:lnTo>
                                      <a:pt x="169" y="58"/>
                                    </a:lnTo>
                                    <a:lnTo>
                                      <a:pt x="171" y="58"/>
                                    </a:lnTo>
                                    <a:lnTo>
                                      <a:pt x="174" y="58"/>
                                    </a:lnTo>
                                    <a:lnTo>
                                      <a:pt x="176" y="58"/>
                                    </a:lnTo>
                                    <a:lnTo>
                                      <a:pt x="178" y="58"/>
                                    </a:lnTo>
                                    <a:lnTo>
                                      <a:pt x="180" y="59"/>
                                    </a:lnTo>
                                    <a:lnTo>
                                      <a:pt x="182" y="59"/>
                                    </a:lnTo>
                                    <a:lnTo>
                                      <a:pt x="184" y="59"/>
                                    </a:lnTo>
                                    <a:lnTo>
                                      <a:pt x="186" y="60"/>
                                    </a:lnTo>
                                    <a:lnTo>
                                      <a:pt x="186" y="61"/>
                                    </a:lnTo>
                                    <a:lnTo>
                                      <a:pt x="186" y="63"/>
                                    </a:lnTo>
                                    <a:lnTo>
                                      <a:pt x="186" y="64"/>
                                    </a:lnTo>
                                    <a:lnTo>
                                      <a:pt x="186" y="65"/>
                                    </a:lnTo>
                                    <a:lnTo>
                                      <a:pt x="186" y="66"/>
                                    </a:lnTo>
                                    <a:lnTo>
                                      <a:pt x="186" y="67"/>
                                    </a:lnTo>
                                    <a:lnTo>
                                      <a:pt x="185" y="69"/>
                                    </a:lnTo>
                                    <a:lnTo>
                                      <a:pt x="184" y="71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3" y="75"/>
                                    </a:lnTo>
                                    <a:lnTo>
                                      <a:pt x="183" y="76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80"/>
                                    </a:lnTo>
                                    <a:lnTo>
                                      <a:pt x="183" y="81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5" y="83"/>
                                    </a:lnTo>
                                    <a:lnTo>
                                      <a:pt x="185" y="84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9" y="87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93"/>
                                    </a:lnTo>
                                    <a:lnTo>
                                      <a:pt x="189" y="98"/>
                                    </a:lnTo>
                                    <a:lnTo>
                                      <a:pt x="189" y="102"/>
                                    </a:lnTo>
                                    <a:lnTo>
                                      <a:pt x="189" y="107"/>
                                    </a:lnTo>
                                    <a:lnTo>
                                      <a:pt x="190" y="108"/>
                                    </a:lnTo>
                                    <a:lnTo>
                                      <a:pt x="190" y="109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1" y="111"/>
                                    </a:lnTo>
                                    <a:lnTo>
                                      <a:pt x="191" y="112"/>
                                    </a:lnTo>
                                    <a:lnTo>
                                      <a:pt x="192" y="112"/>
                                    </a:lnTo>
                                    <a:lnTo>
                                      <a:pt x="193" y="113"/>
                                    </a:lnTo>
                                    <a:lnTo>
                                      <a:pt x="194" y="113"/>
                                    </a:lnTo>
                                    <a:lnTo>
                                      <a:pt x="195" y="114"/>
                                    </a:lnTo>
                                    <a:lnTo>
                                      <a:pt x="196" y="115"/>
                                    </a:lnTo>
                                    <a:lnTo>
                                      <a:pt x="197" y="115"/>
                                    </a:lnTo>
                                    <a:lnTo>
                                      <a:pt x="197" y="116"/>
                                    </a:lnTo>
                                    <a:lnTo>
                                      <a:pt x="198" y="117"/>
                                    </a:lnTo>
                                    <a:lnTo>
                                      <a:pt x="198" y="118"/>
                                    </a:lnTo>
                                    <a:lnTo>
                                      <a:pt x="198" y="120"/>
                                    </a:lnTo>
                                    <a:lnTo>
                                      <a:pt x="198" y="122"/>
                                    </a:lnTo>
                                    <a:lnTo>
                                      <a:pt x="198" y="123"/>
                                    </a:lnTo>
                                    <a:lnTo>
                                      <a:pt x="198" y="125"/>
                                    </a:lnTo>
                                    <a:lnTo>
                                      <a:pt x="198" y="126"/>
                                    </a:lnTo>
                                    <a:lnTo>
                                      <a:pt x="198" y="127"/>
                                    </a:lnTo>
                                    <a:lnTo>
                                      <a:pt x="198" y="129"/>
                                    </a:lnTo>
                                    <a:lnTo>
                                      <a:pt x="197" y="130"/>
                                    </a:lnTo>
                                    <a:lnTo>
                                      <a:pt x="197" y="131"/>
                                    </a:lnTo>
                                    <a:lnTo>
                                      <a:pt x="196" y="132"/>
                                    </a:lnTo>
                                    <a:lnTo>
                                      <a:pt x="196" y="133"/>
                                    </a:lnTo>
                                    <a:lnTo>
                                      <a:pt x="195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2" y="139"/>
                                    </a:lnTo>
                                    <a:lnTo>
                                      <a:pt x="193" y="139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1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3"/>
                                    </a:lnTo>
                                    <a:lnTo>
                                      <a:pt x="195" y="143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5"/>
                                    </a:lnTo>
                                    <a:lnTo>
                                      <a:pt x="192" y="146"/>
                                    </a:lnTo>
                                    <a:lnTo>
                                      <a:pt x="190" y="148"/>
                                    </a:lnTo>
                                    <a:lnTo>
                                      <a:pt x="188" y="149"/>
                                    </a:lnTo>
                                    <a:lnTo>
                                      <a:pt x="186" y="150"/>
                                    </a:lnTo>
                                    <a:lnTo>
                                      <a:pt x="182" y="153"/>
                                    </a:lnTo>
                                    <a:lnTo>
                                      <a:pt x="178" y="156"/>
                                    </a:lnTo>
                                    <a:lnTo>
                                      <a:pt x="173" y="158"/>
                                    </a:lnTo>
                                    <a:lnTo>
                                      <a:pt x="169" y="161"/>
                                    </a:lnTo>
                                    <a:lnTo>
                                      <a:pt x="167" y="162"/>
                                    </a:lnTo>
                                    <a:lnTo>
                                      <a:pt x="165" y="163"/>
                                    </a:lnTo>
                                    <a:lnTo>
                                      <a:pt x="163" y="165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59" y="167"/>
                                    </a:lnTo>
                                    <a:lnTo>
                                      <a:pt x="159" y="157"/>
                                    </a:lnTo>
                                    <a:lnTo>
                                      <a:pt x="160" y="157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1" y="156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4"/>
                                    </a:lnTo>
                                    <a:lnTo>
                                      <a:pt x="161" y="153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7" y="150"/>
                                    </a:lnTo>
                                    <a:lnTo>
                                      <a:pt x="157" y="151"/>
                                    </a:lnTo>
                                    <a:lnTo>
                                      <a:pt x="156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4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2" y="152"/>
                                    </a:lnTo>
                                    <a:lnTo>
                                      <a:pt x="152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0" y="147"/>
                                    </a:lnTo>
                                    <a:lnTo>
                                      <a:pt x="149" y="147"/>
                                    </a:lnTo>
                                    <a:lnTo>
                                      <a:pt x="149" y="145"/>
                                    </a:lnTo>
                                    <a:lnTo>
                                      <a:pt x="149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1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3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1" y="137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1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2"/>
                                    </a:lnTo>
                                    <a:lnTo>
                                      <a:pt x="137" y="132"/>
                                    </a:lnTo>
                                    <a:lnTo>
                                      <a:pt x="137" y="131"/>
                                    </a:lnTo>
                                    <a:lnTo>
                                      <a:pt x="136" y="131"/>
                                    </a:lnTo>
                                    <a:lnTo>
                                      <a:pt x="136" y="130"/>
                                    </a:lnTo>
                                    <a:lnTo>
                                      <a:pt x="135" y="130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6"/>
                                    </a:lnTo>
                                    <a:lnTo>
                                      <a:pt x="133" y="126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0" y="125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4" y="129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3" y="131"/>
                                    </a:lnTo>
                                    <a:lnTo>
                                      <a:pt x="122" y="131"/>
                                    </a:lnTo>
                                    <a:lnTo>
                                      <a:pt x="121" y="131"/>
                                    </a:lnTo>
                                    <a:lnTo>
                                      <a:pt x="120" y="132"/>
                                    </a:lnTo>
                                    <a:lnTo>
                                      <a:pt x="119" y="132"/>
                                    </a:lnTo>
                                    <a:lnTo>
                                      <a:pt x="118" y="132"/>
                                    </a:lnTo>
                                    <a:lnTo>
                                      <a:pt x="116" y="132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5" y="131"/>
                                    </a:lnTo>
                                    <a:lnTo>
                                      <a:pt x="115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0" y="130"/>
                                    </a:lnTo>
                                    <a:lnTo>
                                      <a:pt x="106" y="130"/>
                                    </a:lnTo>
                                    <a:lnTo>
                                      <a:pt x="103" y="130"/>
                                    </a:lnTo>
                                    <a:lnTo>
                                      <a:pt x="100" y="130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99" y="129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1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8" y="127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8"/>
                                    </a:lnTo>
                                    <a:lnTo>
                                      <a:pt x="82" y="128"/>
                                    </a:lnTo>
                                    <a:lnTo>
                                      <a:pt x="80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30"/>
                                    </a:lnTo>
                                    <a:lnTo>
                                      <a:pt x="68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5" y="129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4"/>
                                    </a:lnTo>
                                    <a:lnTo>
                                      <a:pt x="61" y="124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0"/>
                                    </a:lnTo>
                                    <a:lnTo>
                                      <a:pt x="58" y="120"/>
                                    </a:lnTo>
                                    <a:lnTo>
                                      <a:pt x="58" y="119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3" y="112"/>
                                    </a:lnTo>
                                    <a:lnTo>
                                      <a:pt x="52" y="111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0" y="109"/>
                                    </a:lnTo>
                                    <a:lnTo>
                                      <a:pt x="50" y="108"/>
                                    </a:lnTo>
                                    <a:lnTo>
                                      <a:pt x="50" y="107"/>
                                    </a:lnTo>
                                    <a:lnTo>
                                      <a:pt x="50" y="106"/>
                                    </a:lnTo>
                                    <a:lnTo>
                                      <a:pt x="50" y="105"/>
                                    </a:lnTo>
                                    <a:lnTo>
                                      <a:pt x="50" y="104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8" y="102"/>
                                    </a:lnTo>
                                    <a:lnTo>
                                      <a:pt x="48" y="101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2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0" y="95"/>
                                    </a:lnTo>
                                    <a:lnTo>
                                      <a:pt x="40" y="94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8" y="93"/>
                                    </a:lnTo>
                                    <a:lnTo>
                                      <a:pt x="38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6" y="92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4" y="90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2" y="89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30" y="87"/>
                                    </a:lnTo>
                                    <a:lnTo>
                                      <a:pt x="30" y="86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7" y="84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4" y="82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1" y="79"/>
                                    </a:lnTo>
                                    <a:lnTo>
                                      <a:pt x="21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8" y="77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5" y="75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3" y="73"/>
                                    </a:lnTo>
                                    <a:lnTo>
                                      <a:pt x="12" y="72"/>
                                    </a:lnTo>
                                    <a:lnTo>
                                      <a:pt x="11" y="71"/>
                                    </a:lnTo>
                                    <a:lnTo>
                                      <a:pt x="10" y="70"/>
                                    </a:lnTo>
                                    <a:lnTo>
                                      <a:pt x="10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5"/>
                                    </a:lnTo>
                                    <a:lnTo>
                                      <a:pt x="3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0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1" y="58"/>
                                    </a:lnTo>
                                    <a:lnTo>
                                      <a:pt x="1" y="56"/>
                                    </a:lnTo>
                                    <a:lnTo>
                                      <a:pt x="2" y="55"/>
                                    </a:lnTo>
                                    <a:lnTo>
                                      <a:pt x="2" y="54"/>
                                    </a:lnTo>
                                    <a:lnTo>
                                      <a:pt x="3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6" y="51"/>
                                    </a:lnTo>
                                    <a:lnTo>
                                      <a:pt x="7" y="50"/>
                                    </a:lnTo>
                                    <a:lnTo>
                                      <a:pt x="8" y="49"/>
                                    </a:lnTo>
                                    <a:lnTo>
                                      <a:pt x="9" y="49"/>
                                    </a:lnTo>
                                    <a:lnTo>
                                      <a:pt x="10" y="48"/>
                                    </a:lnTo>
                                    <a:lnTo>
                                      <a:pt x="12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5" y="47"/>
                                    </a:lnTo>
                                    <a:lnTo>
                                      <a:pt x="15" y="46"/>
                                    </a:lnTo>
                                    <a:lnTo>
                                      <a:pt x="16" y="44"/>
                                    </a:lnTo>
                                    <a:lnTo>
                                      <a:pt x="16" y="43"/>
                                    </a:lnTo>
                                    <a:lnTo>
                                      <a:pt x="17" y="42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39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30" y="31"/>
                                    </a:lnTo>
                                    <a:lnTo>
                                      <a:pt x="32" y="29"/>
                                    </a:lnTo>
                                    <a:lnTo>
                                      <a:pt x="33" y="28"/>
                                    </a:lnTo>
                                    <a:lnTo>
                                      <a:pt x="35" y="26"/>
                                    </a:lnTo>
                                    <a:lnTo>
                                      <a:pt x="37" y="25"/>
                                    </a:lnTo>
                                    <a:lnTo>
                                      <a:pt x="39" y="23"/>
                                    </a:lnTo>
                                    <a:lnTo>
                                      <a:pt x="39" y="22"/>
                                    </a:lnTo>
                                    <a:lnTo>
                                      <a:pt x="40" y="21"/>
                                    </a:lnTo>
                                    <a:lnTo>
                                      <a:pt x="41" y="20"/>
                                    </a:lnTo>
                                    <a:lnTo>
                                      <a:pt x="41" y="19"/>
                                    </a:lnTo>
                                    <a:lnTo>
                                      <a:pt x="42" y="18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7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1" y="20"/>
                                    </a:lnTo>
                                    <a:lnTo>
                                      <a:pt x="52" y="19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2"/>
                                    </a:lnTo>
                                    <a:lnTo>
                                      <a:pt x="57" y="9"/>
                                    </a:lnTo>
                                    <a:lnTo>
                                      <a:pt x="58" y="8"/>
                                    </a:lnTo>
                                    <a:lnTo>
                                      <a:pt x="58" y="7"/>
                                    </a:lnTo>
                                    <a:lnTo>
                                      <a:pt x="59" y="5"/>
                                    </a:lnTo>
                                    <a:lnTo>
                                      <a:pt x="60" y="4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2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4" y="1"/>
                                    </a:lnTo>
                                    <a:lnTo>
                                      <a:pt x="65" y="0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1" y="2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4" y="3"/>
                                    </a:lnTo>
                                    <a:lnTo>
                                      <a:pt x="75" y="4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6"/>
                                    </a:lnTo>
                                    <a:lnTo>
                                      <a:pt x="78" y="7"/>
                                    </a:lnTo>
                                    <a:lnTo>
                                      <a:pt x="80" y="9"/>
                                    </a:lnTo>
                                    <a:lnTo>
                                      <a:pt x="81" y="11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4" y="15"/>
                                    </a:lnTo>
                                    <a:lnTo>
                                      <a:pt x="85" y="17"/>
                                    </a:lnTo>
                                    <a:lnTo>
                                      <a:pt x="87" y="19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8" y="21"/>
                                    </a:lnTo>
                                    <a:lnTo>
                                      <a:pt x="89" y="22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1" y="23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3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6" y="25"/>
                                    </a:lnTo>
                                    <a:lnTo>
                                      <a:pt x="97" y="25"/>
                                    </a:lnTo>
                                    <a:lnTo>
                                      <a:pt x="98" y="2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20000"/>
                                  <a:lumOff val="8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7" name="Freeform 12">
                                <a:extLst>
                                  <a:ext uri="{FF2B5EF4-FFF2-40B4-BE49-F238E27FC236}">
                                    <a16:creationId xmlns:a16="http://schemas.microsoft.com/office/drawing/2014/main" xmlns="" id="{5F538096-9D90-49B5-830A-508F6CA09EC4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750376" y="4137269"/>
                                <a:ext cx="1416690" cy="1669707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1" y="28"/>
                                  </a:cxn>
                                  <a:cxn ang="0">
                                    <a:pos x="142" y="39"/>
                                  </a:cxn>
                                  <a:cxn ang="0">
                                    <a:pos x="134" y="42"/>
                                  </a:cxn>
                                  <a:cxn ang="0">
                                    <a:pos x="125" y="45"/>
                                  </a:cxn>
                                  <a:cxn ang="0">
                                    <a:pos x="112" y="143"/>
                                  </a:cxn>
                                  <a:cxn ang="0">
                                    <a:pos x="96" y="149"/>
                                  </a:cxn>
                                  <a:cxn ang="0">
                                    <a:pos x="92" y="138"/>
                                  </a:cxn>
                                  <a:cxn ang="0">
                                    <a:pos x="87" y="129"/>
                                  </a:cxn>
                                  <a:cxn ang="0">
                                    <a:pos x="75" y="118"/>
                                  </a:cxn>
                                  <a:cxn ang="0">
                                    <a:pos x="47" y="120"/>
                                  </a:cxn>
                                  <a:cxn ang="0">
                                    <a:pos x="38" y="125"/>
                                  </a:cxn>
                                  <a:cxn ang="0">
                                    <a:pos x="34" y="124"/>
                                  </a:cxn>
                                  <a:cxn ang="0">
                                    <a:pos x="35" y="118"/>
                                  </a:cxn>
                                  <a:cxn ang="0">
                                    <a:pos x="41" y="110"/>
                                  </a:cxn>
                                  <a:cxn ang="0">
                                    <a:pos x="43" y="104"/>
                                  </a:cxn>
                                  <a:cxn ang="0">
                                    <a:pos x="42" y="98"/>
                                  </a:cxn>
                                  <a:cxn ang="0">
                                    <a:pos x="34" y="93"/>
                                  </a:cxn>
                                  <a:cxn ang="0">
                                    <a:pos x="25" y="86"/>
                                  </a:cxn>
                                  <a:cxn ang="0">
                                    <a:pos x="21" y="81"/>
                                  </a:cxn>
                                  <a:cxn ang="0">
                                    <a:pos x="16" y="81"/>
                                  </a:cxn>
                                  <a:cxn ang="0">
                                    <a:pos x="16" y="71"/>
                                  </a:cxn>
                                  <a:cxn ang="0">
                                    <a:pos x="12" y="55"/>
                                  </a:cxn>
                                  <a:cxn ang="0">
                                    <a:pos x="11" y="46"/>
                                  </a:cxn>
                                  <a:cxn ang="0">
                                    <a:pos x="6" y="42"/>
                                  </a:cxn>
                                  <a:cxn ang="0">
                                    <a:pos x="0" y="39"/>
                                  </a:cxn>
                                  <a:cxn ang="0">
                                    <a:pos x="0" y="36"/>
                                  </a:cxn>
                                  <a:cxn ang="0">
                                    <a:pos x="3" y="33"/>
                                  </a:cxn>
                                  <a:cxn ang="0">
                                    <a:pos x="12" y="35"/>
                                  </a:cxn>
                                  <a:cxn ang="0">
                                    <a:pos x="14" y="37"/>
                                  </a:cxn>
                                  <a:cxn ang="0">
                                    <a:pos x="16" y="39"/>
                                  </a:cxn>
                                  <a:cxn ang="0">
                                    <a:pos x="24" y="40"/>
                                  </a:cxn>
                                  <a:cxn ang="0">
                                    <a:pos x="29" y="39"/>
                                  </a:cxn>
                                  <a:cxn ang="0">
                                    <a:pos x="22" y="32"/>
                                  </a:cxn>
                                  <a:cxn ang="0">
                                    <a:pos x="20" y="26"/>
                                  </a:cxn>
                                  <a:cxn ang="0">
                                    <a:pos x="23" y="25"/>
                                  </a:cxn>
                                  <a:cxn ang="0">
                                    <a:pos x="28" y="19"/>
                                  </a:cxn>
                                  <a:cxn ang="0">
                                    <a:pos x="33" y="16"/>
                                  </a:cxn>
                                  <a:cxn ang="0">
                                    <a:pos x="39" y="16"/>
                                  </a:cxn>
                                  <a:cxn ang="0">
                                    <a:pos x="50" y="21"/>
                                  </a:cxn>
                                  <a:cxn ang="0">
                                    <a:pos x="59" y="25"/>
                                  </a:cxn>
                                  <a:cxn ang="0">
                                    <a:pos x="78" y="30"/>
                                  </a:cxn>
                                  <a:cxn ang="0">
                                    <a:pos x="85" y="32"/>
                                  </a:cxn>
                                  <a:cxn ang="0">
                                    <a:pos x="80" y="34"/>
                                  </a:cxn>
                                  <a:cxn ang="0">
                                    <a:pos x="80" y="37"/>
                                  </a:cxn>
                                  <a:cxn ang="0">
                                    <a:pos x="86" y="39"/>
                                  </a:cxn>
                                  <a:cxn ang="0">
                                    <a:pos x="93" y="38"/>
                                  </a:cxn>
                                  <a:cxn ang="0">
                                    <a:pos x="92" y="30"/>
                                  </a:cxn>
                                  <a:cxn ang="0">
                                    <a:pos x="91" y="22"/>
                                  </a:cxn>
                                  <a:cxn ang="0">
                                    <a:pos x="88" y="20"/>
                                  </a:cxn>
                                  <a:cxn ang="0">
                                    <a:pos x="84" y="21"/>
                                  </a:cxn>
                                  <a:cxn ang="0">
                                    <a:pos x="80" y="23"/>
                                  </a:cxn>
                                  <a:cxn ang="0">
                                    <a:pos x="75" y="23"/>
                                  </a:cxn>
                                  <a:cxn ang="0">
                                    <a:pos x="70" y="19"/>
                                  </a:cxn>
                                  <a:cxn ang="0">
                                    <a:pos x="68" y="12"/>
                                  </a:cxn>
                                  <a:cxn ang="0">
                                    <a:pos x="72" y="6"/>
                                  </a:cxn>
                                  <a:cxn ang="0">
                                    <a:pos x="83" y="3"/>
                                  </a:cxn>
                                  <a:cxn ang="0">
                                    <a:pos x="94" y="2"/>
                                  </a:cxn>
                                  <a:cxn ang="0">
                                    <a:pos x="106" y="2"/>
                                  </a:cxn>
                                  <a:cxn ang="0">
                                    <a:pos x="116" y="4"/>
                                  </a:cxn>
                                  <a:cxn ang="0">
                                    <a:pos x="118" y="0"/>
                                  </a:cxn>
                                  <a:cxn ang="0">
                                    <a:pos x="125" y="6"/>
                                  </a:cxn>
                                  <a:cxn ang="0">
                                    <a:pos x="134" y="13"/>
                                  </a:cxn>
                                </a:cxnLst>
                                <a:rect l="0" t="0" r="r" b="b"/>
                                <a:pathLst>
                                  <a:path w="143" h="156">
                                    <a:moveTo>
                                      <a:pt x="141" y="15"/>
                                    </a:moveTo>
                                    <a:lnTo>
                                      <a:pt x="141" y="16"/>
                                    </a:lnTo>
                                    <a:lnTo>
                                      <a:pt x="141" y="18"/>
                                    </a:lnTo>
                                    <a:lnTo>
                                      <a:pt x="141" y="20"/>
                                    </a:lnTo>
                                    <a:lnTo>
                                      <a:pt x="141" y="21"/>
                                    </a:lnTo>
                                    <a:lnTo>
                                      <a:pt x="141" y="25"/>
                                    </a:lnTo>
                                    <a:lnTo>
                                      <a:pt x="141" y="28"/>
                                    </a:lnTo>
                                    <a:lnTo>
                                      <a:pt x="141" y="30"/>
                                    </a:lnTo>
                                    <a:lnTo>
                                      <a:pt x="141" y="32"/>
                                    </a:lnTo>
                                    <a:lnTo>
                                      <a:pt x="141" y="33"/>
                                    </a:lnTo>
                                    <a:lnTo>
                                      <a:pt x="141" y="35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2" y="38"/>
                                    </a:lnTo>
                                    <a:lnTo>
                                      <a:pt x="142" y="39"/>
                                    </a:lnTo>
                                    <a:lnTo>
                                      <a:pt x="143" y="40"/>
                                    </a:lnTo>
                                    <a:lnTo>
                                      <a:pt x="142" y="40"/>
                                    </a:lnTo>
                                    <a:lnTo>
                                      <a:pt x="141" y="41"/>
                                    </a:lnTo>
                                    <a:lnTo>
                                      <a:pt x="140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4" y="42"/>
                                    </a:lnTo>
                                    <a:lnTo>
                                      <a:pt x="131" y="43"/>
                                    </a:lnTo>
                                    <a:lnTo>
                                      <a:pt x="130" y="43"/>
                                    </a:lnTo>
                                    <a:lnTo>
                                      <a:pt x="129" y="43"/>
                                    </a:lnTo>
                                    <a:lnTo>
                                      <a:pt x="127" y="43"/>
                                    </a:lnTo>
                                    <a:lnTo>
                                      <a:pt x="126" y="44"/>
                                    </a:lnTo>
                                    <a:lnTo>
                                      <a:pt x="125" y="44"/>
                                    </a:lnTo>
                                    <a:lnTo>
                                      <a:pt x="125" y="45"/>
                                    </a:lnTo>
                                    <a:lnTo>
                                      <a:pt x="123" y="59"/>
                                    </a:lnTo>
                                    <a:lnTo>
                                      <a:pt x="121" y="73"/>
                                    </a:lnTo>
                                    <a:lnTo>
                                      <a:pt x="120" y="87"/>
                                    </a:lnTo>
                                    <a:lnTo>
                                      <a:pt x="118" y="101"/>
                                    </a:lnTo>
                                    <a:lnTo>
                                      <a:pt x="116" y="115"/>
                                    </a:lnTo>
                                    <a:lnTo>
                                      <a:pt x="114" y="129"/>
                                    </a:lnTo>
                                    <a:lnTo>
                                      <a:pt x="112" y="143"/>
                                    </a:lnTo>
                                    <a:lnTo>
                                      <a:pt x="110" y="156"/>
                                    </a:lnTo>
                                    <a:lnTo>
                                      <a:pt x="100" y="156"/>
                                    </a:lnTo>
                                    <a:lnTo>
                                      <a:pt x="99" y="155"/>
                                    </a:lnTo>
                                    <a:lnTo>
                                      <a:pt x="99" y="154"/>
                                    </a:lnTo>
                                    <a:lnTo>
                                      <a:pt x="98" y="152"/>
                                    </a:lnTo>
                                    <a:lnTo>
                                      <a:pt x="97" y="151"/>
                                    </a:lnTo>
                                    <a:lnTo>
                                      <a:pt x="96" y="149"/>
                                    </a:lnTo>
                                    <a:lnTo>
                                      <a:pt x="94" y="146"/>
                                    </a:lnTo>
                                    <a:lnTo>
                                      <a:pt x="94" y="145"/>
                                    </a:lnTo>
                                    <a:lnTo>
                                      <a:pt x="93" y="144"/>
                                    </a:lnTo>
                                    <a:lnTo>
                                      <a:pt x="93" y="143"/>
                                    </a:lnTo>
                                    <a:lnTo>
                                      <a:pt x="92" y="141"/>
                                    </a:lnTo>
                                    <a:lnTo>
                                      <a:pt x="92" y="140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1" y="136"/>
                                    </a:lnTo>
                                    <a:lnTo>
                                      <a:pt x="91" y="135"/>
                                    </a:lnTo>
                                    <a:lnTo>
                                      <a:pt x="90" y="133"/>
                                    </a:lnTo>
                                    <a:lnTo>
                                      <a:pt x="90" y="132"/>
                                    </a:lnTo>
                                    <a:lnTo>
                                      <a:pt x="89" y="131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7" y="129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6"/>
                                    </a:lnTo>
                                    <a:lnTo>
                                      <a:pt x="81" y="124"/>
                                    </a:lnTo>
                                    <a:lnTo>
                                      <a:pt x="79" y="122"/>
                                    </a:lnTo>
                                    <a:lnTo>
                                      <a:pt x="77" y="120"/>
                                    </a:lnTo>
                                    <a:lnTo>
                                      <a:pt x="76" y="119"/>
                                    </a:lnTo>
                                    <a:lnTo>
                                      <a:pt x="75" y="118"/>
                                    </a:lnTo>
                                    <a:lnTo>
                                      <a:pt x="69" y="118"/>
                                    </a:lnTo>
                                    <a:lnTo>
                                      <a:pt x="63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1" y="118"/>
                                    </a:lnTo>
                                    <a:lnTo>
                                      <a:pt x="50" y="119"/>
                                    </a:lnTo>
                                    <a:lnTo>
                                      <a:pt x="49" y="119"/>
                                    </a:lnTo>
                                    <a:lnTo>
                                      <a:pt x="47" y="120"/>
                                    </a:lnTo>
                                    <a:lnTo>
                                      <a:pt x="45" y="121"/>
                                    </a:lnTo>
                                    <a:lnTo>
                                      <a:pt x="43" y="122"/>
                                    </a:lnTo>
                                    <a:lnTo>
                                      <a:pt x="42" y="123"/>
                                    </a:lnTo>
                                    <a:lnTo>
                                      <a:pt x="41" y="123"/>
                                    </a:lnTo>
                                    <a:lnTo>
                                      <a:pt x="40" y="124"/>
                                    </a:lnTo>
                                    <a:lnTo>
                                      <a:pt x="39" y="124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6"/>
                                    </a:lnTo>
                                    <a:lnTo>
                                      <a:pt x="37" y="127"/>
                                    </a:lnTo>
                                    <a:lnTo>
                                      <a:pt x="36" y="128"/>
                                    </a:lnTo>
                                    <a:lnTo>
                                      <a:pt x="36" y="127"/>
                                    </a:lnTo>
                                    <a:lnTo>
                                      <a:pt x="35" y="126"/>
                                    </a:lnTo>
                                    <a:lnTo>
                                      <a:pt x="35" y="125"/>
                                    </a:lnTo>
                                    <a:lnTo>
                                      <a:pt x="34" y="124"/>
                                    </a:lnTo>
                                    <a:lnTo>
                                      <a:pt x="34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4" y="121"/>
                                    </a:lnTo>
                                    <a:lnTo>
                                      <a:pt x="34" y="120"/>
                                    </a:lnTo>
                                    <a:lnTo>
                                      <a:pt x="35" y="120"/>
                                    </a:lnTo>
                                    <a:lnTo>
                                      <a:pt x="35" y="119"/>
                                    </a:lnTo>
                                    <a:lnTo>
                                      <a:pt x="35" y="118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6"/>
                                    </a:lnTo>
                                    <a:lnTo>
                                      <a:pt x="37" y="114"/>
                                    </a:lnTo>
                                    <a:lnTo>
                                      <a:pt x="38" y="113"/>
                                    </a:lnTo>
                                    <a:lnTo>
                                      <a:pt x="40" y="112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2" y="108"/>
                                    </a:lnTo>
                                    <a:lnTo>
                                      <a:pt x="42" y="107"/>
                                    </a:lnTo>
                                    <a:lnTo>
                                      <a:pt x="43" y="106"/>
                                    </a:lnTo>
                                    <a:lnTo>
                                      <a:pt x="43" y="105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2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0"/>
                                    </a:lnTo>
                                    <a:lnTo>
                                      <a:pt x="42" y="99"/>
                                    </a:lnTo>
                                    <a:lnTo>
                                      <a:pt x="42" y="98"/>
                                    </a:lnTo>
                                    <a:lnTo>
                                      <a:pt x="41" y="97"/>
                                    </a:lnTo>
                                    <a:lnTo>
                                      <a:pt x="40" y="96"/>
                                    </a:lnTo>
                                    <a:lnTo>
                                      <a:pt x="39" y="95"/>
                                    </a:lnTo>
                                    <a:lnTo>
                                      <a:pt x="38" y="95"/>
                                    </a:lnTo>
                                    <a:lnTo>
                                      <a:pt x="37" y="94"/>
                                    </a:lnTo>
                                    <a:lnTo>
                                      <a:pt x="36" y="94"/>
                                    </a:lnTo>
                                    <a:lnTo>
                                      <a:pt x="34" y="93"/>
                                    </a:lnTo>
                                    <a:lnTo>
                                      <a:pt x="33" y="93"/>
                                    </a:lnTo>
                                    <a:lnTo>
                                      <a:pt x="32" y="93"/>
                                    </a:lnTo>
                                    <a:lnTo>
                                      <a:pt x="29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6"/>
                                    </a:lnTo>
                                    <a:lnTo>
                                      <a:pt x="25" y="85"/>
                                    </a:lnTo>
                                    <a:lnTo>
                                      <a:pt x="25" y="84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3" y="82"/>
                                    </a:lnTo>
                                    <a:lnTo>
                                      <a:pt x="22" y="82"/>
                                    </a:lnTo>
                                    <a:lnTo>
                                      <a:pt x="21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8" y="81"/>
                                    </a:lnTo>
                                    <a:lnTo>
                                      <a:pt x="17" y="81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6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7" y="77"/>
                                    </a:lnTo>
                                    <a:lnTo>
                                      <a:pt x="17" y="76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4"/>
                                    </a:lnTo>
                                    <a:lnTo>
                                      <a:pt x="16" y="71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5" y="67"/>
                                    </a:lnTo>
                                    <a:lnTo>
                                      <a:pt x="15" y="65"/>
                                    </a:lnTo>
                                    <a:lnTo>
                                      <a:pt x="14" y="63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3" y="58"/>
                                    </a:lnTo>
                                    <a:lnTo>
                                      <a:pt x="12" y="55"/>
                                    </a:lnTo>
                                    <a:lnTo>
                                      <a:pt x="12" y="53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1" y="49"/>
                                    </a:lnTo>
                                    <a:lnTo>
                                      <a:pt x="11" y="48"/>
                                    </a:lnTo>
                                    <a:lnTo>
                                      <a:pt x="11" y="47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5"/>
                                    </a:lnTo>
                                    <a:lnTo>
                                      <a:pt x="10" y="45"/>
                                    </a:lnTo>
                                    <a:lnTo>
                                      <a:pt x="10" y="44"/>
                                    </a:lnTo>
                                    <a:lnTo>
                                      <a:pt x="9" y="43"/>
                                    </a:lnTo>
                                    <a:lnTo>
                                      <a:pt x="8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5" y="42"/>
                                    </a:lnTo>
                                    <a:lnTo>
                                      <a:pt x="4" y="41"/>
                                    </a:lnTo>
                                    <a:lnTo>
                                      <a:pt x="3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1" y="40"/>
                                    </a:lnTo>
                                    <a:lnTo>
                                      <a:pt x="1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6" y="34"/>
                                    </a:lnTo>
                                    <a:lnTo>
                                      <a:pt x="7" y="34"/>
                                    </a:lnTo>
                                    <a:lnTo>
                                      <a:pt x="9" y="34"/>
                                    </a:lnTo>
                                    <a:lnTo>
                                      <a:pt x="11" y="35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7"/>
                                    </a:lnTo>
                                    <a:lnTo>
                                      <a:pt x="15" y="37"/>
                                    </a:lnTo>
                                    <a:lnTo>
                                      <a:pt x="16" y="37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7" y="40"/>
                                    </a:lnTo>
                                    <a:lnTo>
                                      <a:pt x="18" y="40"/>
                                    </a:lnTo>
                                    <a:lnTo>
                                      <a:pt x="19" y="40"/>
                                    </a:lnTo>
                                    <a:lnTo>
                                      <a:pt x="20" y="40"/>
                                    </a:lnTo>
                                    <a:lnTo>
                                      <a:pt x="22" y="40"/>
                                    </a:lnTo>
                                    <a:lnTo>
                                      <a:pt x="24" y="40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7" y="41"/>
                                    </a:lnTo>
                                    <a:lnTo>
                                      <a:pt x="28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29" y="39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6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4" y="34"/>
                                    </a:lnTo>
                                    <a:lnTo>
                                      <a:pt x="23" y="33"/>
                                    </a:lnTo>
                                    <a:lnTo>
                                      <a:pt x="22" y="32"/>
                                    </a:lnTo>
                                    <a:lnTo>
                                      <a:pt x="22" y="31"/>
                                    </a:lnTo>
                                    <a:lnTo>
                                      <a:pt x="21" y="30"/>
                                    </a:lnTo>
                                    <a:lnTo>
                                      <a:pt x="20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7" y="22"/>
                                    </a:lnTo>
                                    <a:lnTo>
                                      <a:pt x="28" y="20"/>
                                    </a:lnTo>
                                    <a:lnTo>
                                      <a:pt x="28" y="19"/>
                                    </a:lnTo>
                                    <a:lnTo>
                                      <a:pt x="29" y="19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1" y="17"/>
                                    </a:lnTo>
                                    <a:lnTo>
                                      <a:pt x="32" y="16"/>
                                    </a:lnTo>
                                    <a:lnTo>
                                      <a:pt x="33" y="16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7" y="15"/>
                                    </a:lnTo>
                                    <a:lnTo>
                                      <a:pt x="38" y="16"/>
                                    </a:lnTo>
                                    <a:lnTo>
                                      <a:pt x="39" y="16"/>
                                    </a:lnTo>
                                    <a:lnTo>
                                      <a:pt x="41" y="16"/>
                                    </a:lnTo>
                                    <a:lnTo>
                                      <a:pt x="42" y="17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5" y="18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1"/>
                                    </a:lnTo>
                                    <a:lnTo>
                                      <a:pt x="52" y="22"/>
                                    </a:lnTo>
                                    <a:lnTo>
                                      <a:pt x="53" y="23"/>
                                    </a:lnTo>
                                    <a:lnTo>
                                      <a:pt x="55" y="23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62" y="26"/>
                                    </a:lnTo>
                                    <a:lnTo>
                                      <a:pt x="65" y="27"/>
                                    </a:lnTo>
                                    <a:lnTo>
                                      <a:pt x="67" y="27"/>
                                    </a:lnTo>
                                    <a:lnTo>
                                      <a:pt x="70" y="28"/>
                                    </a:lnTo>
                                    <a:lnTo>
                                      <a:pt x="73" y="29"/>
                                    </a:lnTo>
                                    <a:lnTo>
                                      <a:pt x="75" y="29"/>
                                    </a:lnTo>
                                    <a:lnTo>
                                      <a:pt x="78" y="30"/>
                                    </a:lnTo>
                                    <a:lnTo>
                                      <a:pt x="81" y="30"/>
                                    </a:lnTo>
                                    <a:lnTo>
                                      <a:pt x="83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1"/>
                                    </a:lnTo>
                                    <a:lnTo>
                                      <a:pt x="85" y="31"/>
                                    </a:lnTo>
                                    <a:lnTo>
                                      <a:pt x="85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1" y="33"/>
                                    </a:lnTo>
                                    <a:lnTo>
                                      <a:pt x="80" y="33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1" y="38"/>
                                    </a:lnTo>
                                    <a:lnTo>
                                      <a:pt x="82" y="38"/>
                                    </a:lnTo>
                                    <a:lnTo>
                                      <a:pt x="82" y="39"/>
                                    </a:lnTo>
                                    <a:lnTo>
                                      <a:pt x="83" y="39"/>
                                    </a:lnTo>
                                    <a:lnTo>
                                      <a:pt x="84" y="39"/>
                                    </a:lnTo>
                                    <a:lnTo>
                                      <a:pt x="85" y="39"/>
                                    </a:lnTo>
                                    <a:lnTo>
                                      <a:pt x="86" y="39"/>
                                    </a:lnTo>
                                    <a:lnTo>
                                      <a:pt x="87" y="39"/>
                                    </a:lnTo>
                                    <a:lnTo>
                                      <a:pt x="88" y="39"/>
                                    </a:lnTo>
                                    <a:lnTo>
                                      <a:pt x="90" y="39"/>
                                    </a:lnTo>
                                    <a:lnTo>
                                      <a:pt x="91" y="39"/>
                                    </a:lnTo>
                                    <a:lnTo>
                                      <a:pt x="91" y="38"/>
                                    </a:lnTo>
                                    <a:lnTo>
                                      <a:pt x="92" y="38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2" y="35"/>
                                    </a:lnTo>
                                    <a:lnTo>
                                      <a:pt x="92" y="34"/>
                                    </a:lnTo>
                                    <a:lnTo>
                                      <a:pt x="92" y="33"/>
                                    </a:lnTo>
                                    <a:lnTo>
                                      <a:pt x="92" y="31"/>
                                    </a:lnTo>
                                    <a:lnTo>
                                      <a:pt x="92" y="30"/>
                                    </a:lnTo>
                                    <a:lnTo>
                                      <a:pt x="92" y="29"/>
                                    </a:lnTo>
                                    <a:lnTo>
                                      <a:pt x="92" y="28"/>
                                    </a:lnTo>
                                    <a:lnTo>
                                      <a:pt x="92" y="26"/>
                                    </a:lnTo>
                                    <a:lnTo>
                                      <a:pt x="92" y="25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2" y="23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0" y="21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89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6" y="20"/>
                                    </a:lnTo>
                                    <a:lnTo>
                                      <a:pt x="85" y="20"/>
                                    </a:lnTo>
                                    <a:lnTo>
                                      <a:pt x="85" y="21"/>
                                    </a:lnTo>
                                    <a:lnTo>
                                      <a:pt x="84" y="21"/>
                                    </a:lnTo>
                                    <a:lnTo>
                                      <a:pt x="84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1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8" y="23"/>
                                    </a:lnTo>
                                    <a:lnTo>
                                      <a:pt x="77" y="23"/>
                                    </a:lnTo>
                                    <a:lnTo>
                                      <a:pt x="76" y="23"/>
                                    </a:lnTo>
                                    <a:lnTo>
                                      <a:pt x="75" y="23"/>
                                    </a:lnTo>
                                    <a:lnTo>
                                      <a:pt x="75" y="22"/>
                                    </a:lnTo>
                                    <a:lnTo>
                                      <a:pt x="74" y="22"/>
                                    </a:lnTo>
                                    <a:lnTo>
                                      <a:pt x="73" y="22"/>
                                    </a:lnTo>
                                    <a:lnTo>
                                      <a:pt x="73" y="21"/>
                                    </a:lnTo>
                                    <a:lnTo>
                                      <a:pt x="72" y="21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0" y="19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8" y="17"/>
                                    </a:lnTo>
                                    <a:lnTo>
                                      <a:pt x="68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0"/>
                                    </a:lnTo>
                                    <a:lnTo>
                                      <a:pt x="70" y="9"/>
                                    </a:lnTo>
                                    <a:lnTo>
                                      <a:pt x="71" y="8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5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1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6" y="3"/>
                                    </a:lnTo>
                                    <a:lnTo>
                                      <a:pt x="88" y="3"/>
                                    </a:lnTo>
                                    <a:lnTo>
                                      <a:pt x="89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2"/>
                                    </a:lnTo>
                                    <a:lnTo>
                                      <a:pt x="95" y="2"/>
                                    </a:lnTo>
                                    <a:lnTo>
                                      <a:pt x="96" y="2"/>
                                    </a:lnTo>
                                    <a:lnTo>
                                      <a:pt x="99" y="1"/>
                                    </a:lnTo>
                                    <a:lnTo>
                                      <a:pt x="101" y="0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8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4"/>
                                    </a:lnTo>
                                    <a:lnTo>
                                      <a:pt x="117" y="4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8" y="2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20" y="0"/>
                                    </a:lnTo>
                                    <a:lnTo>
                                      <a:pt x="121" y="1"/>
                                    </a:lnTo>
                                    <a:lnTo>
                                      <a:pt x="122" y="2"/>
                                    </a:lnTo>
                                    <a:lnTo>
                                      <a:pt x="124" y="5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7"/>
                                    </a:lnTo>
                                    <a:lnTo>
                                      <a:pt x="127" y="8"/>
                                    </a:lnTo>
                                    <a:lnTo>
                                      <a:pt x="128" y="10"/>
                                    </a:lnTo>
                                    <a:lnTo>
                                      <a:pt x="129" y="11"/>
                                    </a:lnTo>
                                    <a:lnTo>
                                      <a:pt x="131" y="12"/>
                                    </a:lnTo>
                                    <a:lnTo>
                                      <a:pt x="132" y="12"/>
                                    </a:lnTo>
                                    <a:lnTo>
                                      <a:pt x="134" y="13"/>
                                    </a:lnTo>
                                    <a:lnTo>
                                      <a:pt x="135" y="14"/>
                                    </a:lnTo>
                                    <a:lnTo>
                                      <a:pt x="137" y="14"/>
                                    </a:lnTo>
                                    <a:lnTo>
                                      <a:pt x="138" y="15"/>
                                    </a:lnTo>
                                    <a:lnTo>
                                      <a:pt x="139" y="15"/>
                                    </a:lnTo>
                                    <a:lnTo>
                                      <a:pt x="140" y="15"/>
                                    </a:lnTo>
                                    <a:lnTo>
                                      <a:pt x="141" y="1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8" name="Freeform 13">
                                <a:extLst>
                                  <a:ext uri="{FF2B5EF4-FFF2-40B4-BE49-F238E27FC236}">
                                    <a16:creationId xmlns:a16="http://schemas.microsoft.com/office/drawing/2014/main" xmlns="" id="{857EDCB2-07DF-41FF-8550-C23827570679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04423" y="4469244"/>
                                <a:ext cx="1091360" cy="176806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77" y="17"/>
                                  </a:cxn>
                                  <a:cxn ang="0">
                                    <a:pos x="84" y="37"/>
                                  </a:cxn>
                                  <a:cxn ang="0">
                                    <a:pos x="86" y="57"/>
                                  </a:cxn>
                                  <a:cxn ang="0">
                                    <a:pos x="81" y="75"/>
                                  </a:cxn>
                                  <a:cxn ang="0">
                                    <a:pos x="91" y="84"/>
                                  </a:cxn>
                                  <a:cxn ang="0">
                                    <a:pos x="97" y="94"/>
                                  </a:cxn>
                                  <a:cxn ang="0">
                                    <a:pos x="102" y="104"/>
                                  </a:cxn>
                                  <a:cxn ang="0">
                                    <a:pos x="109" y="109"/>
                                  </a:cxn>
                                  <a:cxn ang="0">
                                    <a:pos x="109" y="115"/>
                                  </a:cxn>
                                  <a:cxn ang="0">
                                    <a:pos x="108" y="117"/>
                                  </a:cxn>
                                  <a:cxn ang="0">
                                    <a:pos x="106" y="119"/>
                                  </a:cxn>
                                  <a:cxn ang="0">
                                    <a:pos x="102" y="120"/>
                                  </a:cxn>
                                  <a:cxn ang="0">
                                    <a:pos x="101" y="119"/>
                                  </a:cxn>
                                  <a:cxn ang="0">
                                    <a:pos x="98" y="121"/>
                                  </a:cxn>
                                  <a:cxn ang="0">
                                    <a:pos x="94" y="125"/>
                                  </a:cxn>
                                  <a:cxn ang="0">
                                    <a:pos x="93" y="128"/>
                                  </a:cxn>
                                  <a:cxn ang="0">
                                    <a:pos x="88" y="130"/>
                                  </a:cxn>
                                  <a:cxn ang="0">
                                    <a:pos x="85" y="132"/>
                                  </a:cxn>
                                  <a:cxn ang="0">
                                    <a:pos x="83" y="134"/>
                                  </a:cxn>
                                  <a:cxn ang="0">
                                    <a:pos x="78" y="136"/>
                                  </a:cxn>
                                  <a:cxn ang="0">
                                    <a:pos x="72" y="140"/>
                                  </a:cxn>
                                  <a:cxn ang="0">
                                    <a:pos x="70" y="144"/>
                                  </a:cxn>
                                  <a:cxn ang="0">
                                    <a:pos x="66" y="148"/>
                                  </a:cxn>
                                  <a:cxn ang="0">
                                    <a:pos x="63" y="151"/>
                                  </a:cxn>
                                  <a:cxn ang="0">
                                    <a:pos x="59" y="158"/>
                                  </a:cxn>
                                  <a:cxn ang="0">
                                    <a:pos x="54" y="165"/>
                                  </a:cxn>
                                  <a:cxn ang="0">
                                    <a:pos x="51" y="162"/>
                                  </a:cxn>
                                  <a:cxn ang="0">
                                    <a:pos x="49" y="160"/>
                                  </a:cxn>
                                  <a:cxn ang="0">
                                    <a:pos x="50" y="157"/>
                                  </a:cxn>
                                  <a:cxn ang="0">
                                    <a:pos x="47" y="152"/>
                                  </a:cxn>
                                  <a:cxn ang="0">
                                    <a:pos x="43" y="148"/>
                                  </a:cxn>
                                  <a:cxn ang="0">
                                    <a:pos x="40" y="147"/>
                                  </a:cxn>
                                  <a:cxn ang="0">
                                    <a:pos x="37" y="148"/>
                                  </a:cxn>
                                  <a:cxn ang="0">
                                    <a:pos x="24" y="149"/>
                                  </a:cxn>
                                  <a:cxn ang="0">
                                    <a:pos x="17" y="146"/>
                                  </a:cxn>
                                  <a:cxn ang="0">
                                    <a:pos x="15" y="139"/>
                                  </a:cxn>
                                  <a:cxn ang="0">
                                    <a:pos x="13" y="135"/>
                                  </a:cxn>
                                  <a:cxn ang="0">
                                    <a:pos x="11" y="129"/>
                                  </a:cxn>
                                  <a:cxn ang="0">
                                    <a:pos x="9" y="123"/>
                                  </a:cxn>
                                  <a:cxn ang="0">
                                    <a:pos x="3" y="122"/>
                                  </a:cxn>
                                  <a:cxn ang="0">
                                    <a:pos x="1" y="118"/>
                                  </a:cxn>
                                  <a:cxn ang="0">
                                    <a:pos x="0" y="110"/>
                                  </a:cxn>
                                  <a:cxn ang="0">
                                    <a:pos x="1" y="109"/>
                                  </a:cxn>
                                  <a:cxn ang="0">
                                    <a:pos x="11" y="103"/>
                                  </a:cxn>
                                  <a:cxn ang="0">
                                    <a:pos x="36" y="87"/>
                                  </a:cxn>
                                  <a:cxn ang="0">
                                    <a:pos x="35" y="82"/>
                                  </a:cxn>
                                  <a:cxn ang="0">
                                    <a:pos x="36" y="77"/>
                                  </a:cxn>
                                  <a:cxn ang="0">
                                    <a:pos x="40" y="68"/>
                                  </a:cxn>
                                  <a:cxn ang="0">
                                    <a:pos x="39" y="57"/>
                                  </a:cxn>
                                  <a:cxn ang="0">
                                    <a:pos x="32" y="52"/>
                                  </a:cxn>
                                  <a:cxn ang="0">
                                    <a:pos x="31" y="31"/>
                                  </a:cxn>
                                  <a:cxn ang="0">
                                    <a:pos x="27" y="25"/>
                                  </a:cxn>
                                  <a:cxn ang="0">
                                    <a:pos x="25" y="20"/>
                                  </a:cxn>
                                  <a:cxn ang="0">
                                    <a:pos x="28" y="8"/>
                                  </a:cxn>
                                  <a:cxn ang="0">
                                    <a:pos x="34" y="1"/>
                                  </a:cxn>
                                  <a:cxn ang="0">
                                    <a:pos x="60" y="1"/>
                                  </a:cxn>
                                  <a:cxn ang="0">
                                    <a:pos x="70" y="2"/>
                                  </a:cxn>
                                </a:cxnLst>
                                <a:rect l="0" t="0" r="r" b="b"/>
                                <a:pathLst>
                                  <a:path w="110" h="165">
                                    <a:moveTo>
                                      <a:pt x="71" y="4"/>
                                    </a:moveTo>
                                    <a:lnTo>
                                      <a:pt x="72" y="6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9"/>
                                    </a:lnTo>
                                    <a:lnTo>
                                      <a:pt x="75" y="11"/>
                                    </a:lnTo>
                                    <a:lnTo>
                                      <a:pt x="76" y="13"/>
                                    </a:lnTo>
                                    <a:lnTo>
                                      <a:pt x="77" y="15"/>
                                    </a:lnTo>
                                    <a:lnTo>
                                      <a:pt x="77" y="17"/>
                                    </a:lnTo>
                                    <a:lnTo>
                                      <a:pt x="78" y="19"/>
                                    </a:lnTo>
                                    <a:lnTo>
                                      <a:pt x="79" y="21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2" y="28"/>
                                    </a:lnTo>
                                    <a:lnTo>
                                      <a:pt x="82" y="30"/>
                                    </a:lnTo>
                                    <a:lnTo>
                                      <a:pt x="83" y="33"/>
                                    </a:lnTo>
                                    <a:lnTo>
                                      <a:pt x="84" y="35"/>
                                    </a:lnTo>
                                    <a:lnTo>
                                      <a:pt x="84" y="37"/>
                                    </a:lnTo>
                                    <a:lnTo>
                                      <a:pt x="85" y="40"/>
                                    </a:lnTo>
                                    <a:lnTo>
                                      <a:pt x="85" y="42"/>
                                    </a:lnTo>
                                    <a:lnTo>
                                      <a:pt x="86" y="45"/>
                                    </a:lnTo>
                                    <a:lnTo>
                                      <a:pt x="86" y="47"/>
                                    </a:lnTo>
                                    <a:lnTo>
                                      <a:pt x="86" y="49"/>
                                    </a:lnTo>
                                    <a:lnTo>
                                      <a:pt x="86" y="52"/>
                                    </a:lnTo>
                                    <a:lnTo>
                                      <a:pt x="86" y="54"/>
                                    </a:lnTo>
                                    <a:lnTo>
                                      <a:pt x="86" y="57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62"/>
                                    </a:lnTo>
                                    <a:lnTo>
                                      <a:pt x="85" y="64"/>
                                    </a:lnTo>
                                    <a:lnTo>
                                      <a:pt x="85" y="66"/>
                                    </a:lnTo>
                                    <a:lnTo>
                                      <a:pt x="84" y="69"/>
                                    </a:lnTo>
                                    <a:lnTo>
                                      <a:pt x="83" y="71"/>
                                    </a:lnTo>
                                    <a:lnTo>
                                      <a:pt x="83" y="73"/>
                                    </a:lnTo>
                                    <a:lnTo>
                                      <a:pt x="81" y="75"/>
                                    </a:lnTo>
                                    <a:lnTo>
                                      <a:pt x="82" y="76"/>
                                    </a:lnTo>
                                    <a:lnTo>
                                      <a:pt x="83" y="77"/>
                                    </a:lnTo>
                                    <a:lnTo>
                                      <a:pt x="84" y="78"/>
                                    </a:lnTo>
                                    <a:lnTo>
                                      <a:pt x="85" y="79"/>
                                    </a:lnTo>
                                    <a:lnTo>
                                      <a:pt x="86" y="80"/>
                                    </a:lnTo>
                                    <a:lnTo>
                                      <a:pt x="88" y="82"/>
                                    </a:lnTo>
                                    <a:lnTo>
                                      <a:pt x="90" y="83"/>
                                    </a:lnTo>
                                    <a:lnTo>
                                      <a:pt x="91" y="84"/>
                                    </a:lnTo>
                                    <a:lnTo>
                                      <a:pt x="92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4" y="87"/>
                                    </a:lnTo>
                                    <a:lnTo>
                                      <a:pt x="94" y="88"/>
                                    </a:lnTo>
                                    <a:lnTo>
                                      <a:pt x="95" y="89"/>
                                    </a:lnTo>
                                    <a:lnTo>
                                      <a:pt x="95" y="90"/>
                                    </a:lnTo>
                                    <a:lnTo>
                                      <a:pt x="96" y="92"/>
                                    </a:lnTo>
                                    <a:lnTo>
                                      <a:pt x="97" y="94"/>
                                    </a:lnTo>
                                    <a:lnTo>
                                      <a:pt x="97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9" y="99"/>
                                    </a:lnTo>
                                    <a:lnTo>
                                      <a:pt x="99" y="100"/>
                                    </a:lnTo>
                                    <a:lnTo>
                                      <a:pt x="100" y="102"/>
                                    </a:lnTo>
                                    <a:lnTo>
                                      <a:pt x="100" y="103"/>
                                    </a:lnTo>
                                    <a:lnTo>
                                      <a:pt x="101" y="103"/>
                                    </a:lnTo>
                                    <a:lnTo>
                                      <a:pt x="102" y="104"/>
                                    </a:lnTo>
                                    <a:lnTo>
                                      <a:pt x="103" y="104"/>
                                    </a:lnTo>
                                    <a:lnTo>
                                      <a:pt x="104" y="105"/>
                                    </a:lnTo>
                                    <a:lnTo>
                                      <a:pt x="106" y="106"/>
                                    </a:lnTo>
                                    <a:lnTo>
                                      <a:pt x="107" y="106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8" y="108"/>
                                    </a:lnTo>
                                    <a:lnTo>
                                      <a:pt x="109" y="109"/>
                                    </a:lnTo>
                                    <a:lnTo>
                                      <a:pt x="109" y="110"/>
                                    </a:lnTo>
                                    <a:lnTo>
                                      <a:pt x="110" y="111"/>
                                    </a:lnTo>
                                    <a:lnTo>
                                      <a:pt x="110" y="112"/>
                                    </a:lnTo>
                                    <a:lnTo>
                                      <a:pt x="110" y="113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8" y="115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6" y="117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99" y="121"/>
                                    </a:lnTo>
                                    <a:lnTo>
                                      <a:pt x="98" y="121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6" y="123"/>
                                    </a:lnTo>
                                    <a:lnTo>
                                      <a:pt x="96" y="124"/>
                                    </a:lnTo>
                                    <a:lnTo>
                                      <a:pt x="95" y="124"/>
                                    </a:lnTo>
                                    <a:lnTo>
                                      <a:pt x="95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2" y="128"/>
                                    </a:lnTo>
                                    <a:lnTo>
                                      <a:pt x="92" y="129"/>
                                    </a:lnTo>
                                    <a:lnTo>
                                      <a:pt x="91" y="130"/>
                                    </a:lnTo>
                                    <a:lnTo>
                                      <a:pt x="90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2"/>
                                    </a:lnTo>
                                    <a:lnTo>
                                      <a:pt x="87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5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4"/>
                                    </a:lnTo>
                                    <a:lnTo>
                                      <a:pt x="82" y="134"/>
                                    </a:lnTo>
                                    <a:lnTo>
                                      <a:pt x="81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79" y="135"/>
                                    </a:lnTo>
                                    <a:lnTo>
                                      <a:pt x="78" y="135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7" y="138"/>
                                    </a:lnTo>
                                    <a:lnTo>
                                      <a:pt x="76" y="138"/>
                                    </a:lnTo>
                                    <a:lnTo>
                                      <a:pt x="76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40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2"/>
                                    </a:lnTo>
                                    <a:lnTo>
                                      <a:pt x="70" y="142"/>
                                    </a:lnTo>
                                    <a:lnTo>
                                      <a:pt x="70" y="143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6"/>
                                    </a:lnTo>
                                    <a:lnTo>
                                      <a:pt x="68" y="146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8"/>
                                    </a:lnTo>
                                    <a:lnTo>
                                      <a:pt x="66" y="148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1"/>
                                    </a:lnTo>
                                    <a:lnTo>
                                      <a:pt x="63" y="151"/>
                                    </a:lnTo>
                                    <a:lnTo>
                                      <a:pt x="63" y="152"/>
                                    </a:lnTo>
                                    <a:lnTo>
                                      <a:pt x="62" y="152"/>
                                    </a:lnTo>
                                    <a:lnTo>
                                      <a:pt x="62" y="153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0" y="155"/>
                                    </a:lnTo>
                                    <a:lnTo>
                                      <a:pt x="60" y="156"/>
                                    </a:lnTo>
                                    <a:lnTo>
                                      <a:pt x="59" y="158"/>
                                    </a:lnTo>
                                    <a:lnTo>
                                      <a:pt x="58" y="160"/>
                                    </a:lnTo>
                                    <a:lnTo>
                                      <a:pt x="58" y="162"/>
                                    </a:lnTo>
                                    <a:lnTo>
                                      <a:pt x="57" y="163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5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6"/>
                                    </a:lnTo>
                                    <a:lnTo>
                                      <a:pt x="49" y="155"/>
                                    </a:lnTo>
                                    <a:lnTo>
                                      <a:pt x="49" y="154"/>
                                    </a:lnTo>
                                    <a:lnTo>
                                      <a:pt x="49" y="153"/>
                                    </a:lnTo>
                                    <a:lnTo>
                                      <a:pt x="48" y="152"/>
                                    </a:lnTo>
                                    <a:lnTo>
                                      <a:pt x="47" y="152"/>
                                    </a:lnTo>
                                    <a:lnTo>
                                      <a:pt x="47" y="151"/>
                                    </a:lnTo>
                                    <a:lnTo>
                                      <a:pt x="46" y="150"/>
                                    </a:lnTo>
                                    <a:lnTo>
                                      <a:pt x="45" y="150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3" y="149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39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6" y="149"/>
                                    </a:lnTo>
                                    <a:lnTo>
                                      <a:pt x="35" y="148"/>
                                    </a:lnTo>
                                    <a:lnTo>
                                      <a:pt x="34" y="148"/>
                                    </a:lnTo>
                                    <a:lnTo>
                                      <a:pt x="32" y="148"/>
                                    </a:lnTo>
                                    <a:lnTo>
                                      <a:pt x="31" y="148"/>
                                    </a:lnTo>
                                    <a:lnTo>
                                      <a:pt x="28" y="149"/>
                                    </a:lnTo>
                                    <a:lnTo>
                                      <a:pt x="25" y="149"/>
                                    </a:lnTo>
                                    <a:lnTo>
                                      <a:pt x="24" y="149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1" y="149"/>
                                    </a:lnTo>
                                    <a:lnTo>
                                      <a:pt x="20" y="149"/>
                                    </a:lnTo>
                                    <a:lnTo>
                                      <a:pt x="19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7" y="148"/>
                                    </a:lnTo>
                                    <a:lnTo>
                                      <a:pt x="16" y="147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39"/>
                                    </a:lnTo>
                                    <a:lnTo>
                                      <a:pt x="15" y="138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1" y="129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2"/>
                                    </a:lnTo>
                                    <a:lnTo>
                                      <a:pt x="8" y="122"/>
                                    </a:lnTo>
                                    <a:lnTo>
                                      <a:pt x="7" y="122"/>
                                    </a:lnTo>
                                    <a:lnTo>
                                      <a:pt x="6" y="122"/>
                                    </a:lnTo>
                                    <a:lnTo>
                                      <a:pt x="5" y="122"/>
                                    </a:lnTo>
                                    <a:lnTo>
                                      <a:pt x="4" y="122"/>
                                    </a:lnTo>
                                    <a:lnTo>
                                      <a:pt x="3" y="122"/>
                                    </a:lnTo>
                                    <a:lnTo>
                                      <a:pt x="2" y="122"/>
                                    </a:lnTo>
                                    <a:lnTo>
                                      <a:pt x="1" y="122"/>
                                    </a:lnTo>
                                    <a:lnTo>
                                      <a:pt x="1" y="121"/>
                                    </a:lnTo>
                                    <a:lnTo>
                                      <a:pt x="1" y="120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7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5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9" y="104"/>
                                    </a:lnTo>
                                    <a:lnTo>
                                      <a:pt x="11" y="103"/>
                                    </a:lnTo>
                                    <a:lnTo>
                                      <a:pt x="15" y="100"/>
                                    </a:lnTo>
                                    <a:lnTo>
                                      <a:pt x="20" y="98"/>
                                    </a:lnTo>
                                    <a:lnTo>
                                      <a:pt x="24" y="95"/>
                                    </a:lnTo>
                                    <a:lnTo>
                                      <a:pt x="28" y="93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32" y="90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6" y="87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5"/>
                                    </a:lnTo>
                                    <a:lnTo>
                                      <a:pt x="36" y="85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1"/>
                                    </a:lnTo>
                                    <a:lnTo>
                                      <a:pt x="34" y="81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5" y="79"/>
                                    </a:lnTo>
                                    <a:lnTo>
                                      <a:pt x="36" y="78"/>
                                    </a:lnTo>
                                    <a:lnTo>
                                      <a:pt x="36" y="77"/>
                                    </a:lnTo>
                                    <a:lnTo>
                                      <a:pt x="37" y="76"/>
                                    </a:lnTo>
                                    <a:lnTo>
                                      <a:pt x="38" y="76"/>
                                    </a:lnTo>
                                    <a:lnTo>
                                      <a:pt x="38" y="75"/>
                                    </a:lnTo>
                                    <a:lnTo>
                                      <a:pt x="39" y="73"/>
                                    </a:lnTo>
                                    <a:lnTo>
                                      <a:pt x="39" y="72"/>
                                    </a:lnTo>
                                    <a:lnTo>
                                      <a:pt x="39" y="71"/>
                                    </a:lnTo>
                                    <a:lnTo>
                                      <a:pt x="40" y="70"/>
                                    </a:lnTo>
                                    <a:lnTo>
                                      <a:pt x="40" y="68"/>
                                    </a:lnTo>
                                    <a:lnTo>
                                      <a:pt x="40" y="67"/>
                                    </a:lnTo>
                                    <a:lnTo>
                                      <a:pt x="40" y="65"/>
                                    </a:lnTo>
                                    <a:lnTo>
                                      <a:pt x="40" y="64"/>
                                    </a:lnTo>
                                    <a:lnTo>
                                      <a:pt x="40" y="62"/>
                                    </a:lnTo>
                                    <a:lnTo>
                                      <a:pt x="40" y="60"/>
                                    </a:lnTo>
                                    <a:lnTo>
                                      <a:pt x="40" y="59"/>
                                    </a:lnTo>
                                    <a:lnTo>
                                      <a:pt x="39" y="58"/>
                                    </a:lnTo>
                                    <a:lnTo>
                                      <a:pt x="39" y="57"/>
                                    </a:lnTo>
                                    <a:lnTo>
                                      <a:pt x="38" y="57"/>
                                    </a:lnTo>
                                    <a:lnTo>
                                      <a:pt x="37" y="56"/>
                                    </a:lnTo>
                                    <a:lnTo>
                                      <a:pt x="36" y="56"/>
                                    </a:lnTo>
                                    <a:lnTo>
                                      <a:pt x="35" y="55"/>
                                    </a:lnTo>
                                    <a:lnTo>
                                      <a:pt x="34" y="54"/>
                                    </a:lnTo>
                                    <a:lnTo>
                                      <a:pt x="33" y="54"/>
                                    </a:lnTo>
                                    <a:lnTo>
                                      <a:pt x="33" y="53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1"/>
                                    </a:lnTo>
                                    <a:lnTo>
                                      <a:pt x="31" y="50"/>
                                    </a:lnTo>
                                    <a:lnTo>
                                      <a:pt x="31" y="49"/>
                                    </a:lnTo>
                                    <a:lnTo>
                                      <a:pt x="31" y="44"/>
                                    </a:lnTo>
                                    <a:lnTo>
                                      <a:pt x="31" y="40"/>
                                    </a:lnTo>
                                    <a:lnTo>
                                      <a:pt x="31" y="35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7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7" y="26"/>
                                    </a:lnTo>
                                    <a:lnTo>
                                      <a:pt x="27" y="25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2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19"/>
                                    </a:lnTo>
                                    <a:lnTo>
                                      <a:pt x="25" y="18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6" y="15"/>
                                    </a:lnTo>
                                    <a:lnTo>
                                      <a:pt x="26" y="13"/>
                                    </a:lnTo>
                                    <a:lnTo>
                                      <a:pt x="27" y="11"/>
                                    </a:lnTo>
                                    <a:lnTo>
                                      <a:pt x="27" y="9"/>
                                    </a:lnTo>
                                    <a:lnTo>
                                      <a:pt x="28" y="8"/>
                                    </a:lnTo>
                                    <a:lnTo>
                                      <a:pt x="28" y="7"/>
                                    </a:lnTo>
                                    <a:lnTo>
                                      <a:pt x="28" y="6"/>
                                    </a:lnTo>
                                    <a:lnTo>
                                      <a:pt x="28" y="5"/>
                                    </a:lnTo>
                                    <a:lnTo>
                                      <a:pt x="28" y="4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30" y="2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7" y="0"/>
                                    </a:lnTo>
                                    <a:lnTo>
                                      <a:pt x="39" y="0"/>
                                    </a:lnTo>
                                    <a:lnTo>
                                      <a:pt x="42" y="0"/>
                                    </a:lnTo>
                                    <a:lnTo>
                                      <a:pt x="44" y="0"/>
                                    </a:lnTo>
                                    <a:lnTo>
                                      <a:pt x="47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0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4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20000"/>
                                  <a:lumOff val="80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9" name="Freeform 14">
                                <a:extLst>
                                  <a:ext uri="{FF2B5EF4-FFF2-40B4-BE49-F238E27FC236}">
                                    <a16:creationId xmlns:a16="http://schemas.microsoft.com/office/drawing/2014/main" xmlns="" id="{DA674F86-DF0C-4739-B44D-8AF55DFBA01F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593426" y="1533119"/>
                                <a:ext cx="1149042" cy="144593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1" y="79"/>
                                  </a:cxn>
                                  <a:cxn ang="0">
                                    <a:pos x="102" y="88"/>
                                  </a:cxn>
                                  <a:cxn ang="0">
                                    <a:pos x="98" y="95"/>
                                  </a:cxn>
                                  <a:cxn ang="0">
                                    <a:pos x="99" y="104"/>
                                  </a:cxn>
                                  <a:cxn ang="0">
                                    <a:pos x="107" y="113"/>
                                  </a:cxn>
                                  <a:cxn ang="0">
                                    <a:pos x="109" y="121"/>
                                  </a:cxn>
                                  <a:cxn ang="0">
                                    <a:pos x="105" y="126"/>
                                  </a:cxn>
                                  <a:cxn ang="0">
                                    <a:pos x="96" y="128"/>
                                  </a:cxn>
                                  <a:cxn ang="0">
                                    <a:pos x="91" y="118"/>
                                  </a:cxn>
                                  <a:cxn ang="0">
                                    <a:pos x="82" y="112"/>
                                  </a:cxn>
                                  <a:cxn ang="0">
                                    <a:pos x="74" y="113"/>
                                  </a:cxn>
                                  <a:cxn ang="0">
                                    <a:pos x="69" y="120"/>
                                  </a:cxn>
                                  <a:cxn ang="0">
                                    <a:pos x="64" y="126"/>
                                  </a:cxn>
                                  <a:cxn ang="0">
                                    <a:pos x="50" y="128"/>
                                  </a:cxn>
                                  <a:cxn ang="0">
                                    <a:pos x="45" y="133"/>
                                  </a:cxn>
                                  <a:cxn ang="0">
                                    <a:pos x="43" y="135"/>
                                  </a:cxn>
                                  <a:cxn ang="0">
                                    <a:pos x="41" y="130"/>
                                  </a:cxn>
                                  <a:cxn ang="0">
                                    <a:pos x="40" y="126"/>
                                  </a:cxn>
                                  <a:cxn ang="0">
                                    <a:pos x="34" y="122"/>
                                  </a:cxn>
                                  <a:cxn ang="0">
                                    <a:pos x="21" y="119"/>
                                  </a:cxn>
                                  <a:cxn ang="0">
                                    <a:pos x="19" y="113"/>
                                  </a:cxn>
                                  <a:cxn ang="0">
                                    <a:pos x="18" y="108"/>
                                  </a:cxn>
                                  <a:cxn ang="0">
                                    <a:pos x="15" y="106"/>
                                  </a:cxn>
                                  <a:cxn ang="0">
                                    <a:pos x="14" y="102"/>
                                  </a:cxn>
                                  <a:cxn ang="0">
                                    <a:pos x="11" y="98"/>
                                  </a:cxn>
                                  <a:cxn ang="0">
                                    <a:pos x="14" y="96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16" y="82"/>
                                  </a:cxn>
                                  <a:cxn ang="0">
                                    <a:pos x="18" y="73"/>
                                  </a:cxn>
                                  <a:cxn ang="0">
                                    <a:pos x="16" y="64"/>
                                  </a:cxn>
                                  <a:cxn ang="0">
                                    <a:pos x="12" y="59"/>
                                  </a:cxn>
                                  <a:cxn ang="0">
                                    <a:pos x="6" y="56"/>
                                  </a:cxn>
                                  <a:cxn ang="0">
                                    <a:pos x="5" y="55"/>
                                  </a:cxn>
                                  <a:cxn ang="0">
                                    <a:pos x="4" y="50"/>
                                  </a:cxn>
                                  <a:cxn ang="0">
                                    <a:pos x="0" y="48"/>
                                  </a:cxn>
                                  <a:cxn ang="0">
                                    <a:pos x="1" y="43"/>
                                  </a:cxn>
                                  <a:cxn ang="0">
                                    <a:pos x="3" y="38"/>
                                  </a:cxn>
                                  <a:cxn ang="0">
                                    <a:pos x="2" y="35"/>
                                  </a:cxn>
                                  <a:cxn ang="0">
                                    <a:pos x="4" y="32"/>
                                  </a:cxn>
                                  <a:cxn ang="0">
                                    <a:pos x="10" y="30"/>
                                  </a:cxn>
                                  <a:cxn ang="0">
                                    <a:pos x="14" y="32"/>
                                  </a:cxn>
                                  <a:cxn ang="0">
                                    <a:pos x="18" y="30"/>
                                  </a:cxn>
                                  <a:cxn ang="0">
                                    <a:pos x="24" y="24"/>
                                  </a:cxn>
                                  <a:cxn ang="0">
                                    <a:pos x="33" y="19"/>
                                  </a:cxn>
                                  <a:cxn ang="0">
                                    <a:pos x="36" y="13"/>
                                  </a:cxn>
                                  <a:cxn ang="0">
                                    <a:pos x="44" y="10"/>
                                  </a:cxn>
                                  <a:cxn ang="0">
                                    <a:pos x="48" y="4"/>
                                  </a:cxn>
                                  <a:cxn ang="0">
                                    <a:pos x="54" y="3"/>
                                  </a:cxn>
                                  <a:cxn ang="0">
                                    <a:pos x="59" y="0"/>
                                  </a:cxn>
                                  <a:cxn ang="0">
                                    <a:pos x="61" y="6"/>
                                  </a:cxn>
                                  <a:cxn ang="0">
                                    <a:pos x="58" y="10"/>
                                  </a:cxn>
                                  <a:cxn ang="0">
                                    <a:pos x="55" y="13"/>
                                  </a:cxn>
                                  <a:cxn ang="0">
                                    <a:pos x="60" y="17"/>
                                  </a:cxn>
                                  <a:cxn ang="0">
                                    <a:pos x="70" y="22"/>
                                  </a:cxn>
                                  <a:cxn ang="0">
                                    <a:pos x="77" y="26"/>
                                  </a:cxn>
                                  <a:cxn ang="0">
                                    <a:pos x="101" y="54"/>
                                  </a:cxn>
                                </a:cxnLst>
                                <a:rect l="0" t="0" r="r" b="b"/>
                                <a:pathLst>
                                  <a:path w="116" h="135">
                                    <a:moveTo>
                                      <a:pt x="116" y="77"/>
                                    </a:moveTo>
                                    <a:lnTo>
                                      <a:pt x="115" y="77"/>
                                    </a:lnTo>
                                    <a:lnTo>
                                      <a:pt x="115" y="76"/>
                                    </a:lnTo>
                                    <a:lnTo>
                                      <a:pt x="114" y="76"/>
                                    </a:lnTo>
                                    <a:lnTo>
                                      <a:pt x="113" y="77"/>
                                    </a:lnTo>
                                    <a:lnTo>
                                      <a:pt x="112" y="78"/>
                                    </a:lnTo>
                                    <a:lnTo>
                                      <a:pt x="111" y="79"/>
                                    </a:lnTo>
                                    <a:lnTo>
                                      <a:pt x="109" y="80"/>
                                    </a:lnTo>
                                    <a:lnTo>
                                      <a:pt x="108" y="81"/>
                                    </a:lnTo>
                                    <a:lnTo>
                                      <a:pt x="106" y="83"/>
                                    </a:lnTo>
                                    <a:lnTo>
                                      <a:pt x="105" y="84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7"/>
                                    </a:lnTo>
                                    <a:lnTo>
                                      <a:pt x="102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0" y="91"/>
                                    </a:lnTo>
                                    <a:lnTo>
                                      <a:pt x="99" y="92"/>
                                    </a:lnTo>
                                    <a:lnTo>
                                      <a:pt x="99" y="93"/>
                                    </a:lnTo>
                                    <a:lnTo>
                                      <a:pt x="99" y="94"/>
                                    </a:lnTo>
                                    <a:lnTo>
                                      <a:pt x="98" y="94"/>
                                    </a:lnTo>
                                    <a:lnTo>
                                      <a:pt x="98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8" y="98"/>
                                    </a:lnTo>
                                    <a:lnTo>
                                      <a:pt x="98" y="99"/>
                                    </a:lnTo>
                                    <a:lnTo>
                                      <a:pt x="98" y="100"/>
                                    </a:lnTo>
                                    <a:lnTo>
                                      <a:pt x="98" y="101"/>
                                    </a:lnTo>
                                    <a:lnTo>
                                      <a:pt x="99" y="103"/>
                                    </a:lnTo>
                                    <a:lnTo>
                                      <a:pt x="99" y="104"/>
                                    </a:lnTo>
                                    <a:lnTo>
                                      <a:pt x="100" y="105"/>
                                    </a:lnTo>
                                    <a:lnTo>
                                      <a:pt x="101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5" y="109"/>
                                    </a:lnTo>
                                    <a:lnTo>
                                      <a:pt x="106" y="110"/>
                                    </a:lnTo>
                                    <a:lnTo>
                                      <a:pt x="107" y="111"/>
                                    </a:lnTo>
                                    <a:lnTo>
                                      <a:pt x="107" y="113"/>
                                    </a:lnTo>
                                    <a:lnTo>
                                      <a:pt x="108" y="114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6"/>
                                    </a:lnTo>
                                    <a:lnTo>
                                      <a:pt x="110" y="118"/>
                                    </a:lnTo>
                                    <a:lnTo>
                                      <a:pt x="110" y="119"/>
                                    </a:lnTo>
                                    <a:lnTo>
                                      <a:pt x="110" y="120"/>
                                    </a:lnTo>
                                    <a:lnTo>
                                      <a:pt x="109" y="121"/>
                                    </a:lnTo>
                                    <a:lnTo>
                                      <a:pt x="109" y="122"/>
                                    </a:lnTo>
                                    <a:lnTo>
                                      <a:pt x="108" y="123"/>
                                    </a:lnTo>
                                    <a:lnTo>
                                      <a:pt x="108" y="124"/>
                                    </a:lnTo>
                                    <a:lnTo>
                                      <a:pt x="107" y="124"/>
                                    </a:lnTo>
                                    <a:lnTo>
                                      <a:pt x="106" y="125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4" y="127"/>
                                    </a:lnTo>
                                    <a:lnTo>
                                      <a:pt x="103" y="127"/>
                                    </a:lnTo>
                                    <a:lnTo>
                                      <a:pt x="102" y="128"/>
                                    </a:lnTo>
                                    <a:lnTo>
                                      <a:pt x="100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6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3"/>
                                    </a:lnTo>
                                    <a:lnTo>
                                      <a:pt x="93" y="121"/>
                                    </a:lnTo>
                                    <a:lnTo>
                                      <a:pt x="92" y="120"/>
                                    </a:lnTo>
                                    <a:lnTo>
                                      <a:pt x="91" y="118"/>
                                    </a:lnTo>
                                    <a:lnTo>
                                      <a:pt x="90" y="117"/>
                                    </a:lnTo>
                                    <a:lnTo>
                                      <a:pt x="89" y="116"/>
                                    </a:lnTo>
                                    <a:lnTo>
                                      <a:pt x="88" y="115"/>
                                    </a:lnTo>
                                    <a:lnTo>
                                      <a:pt x="87" y="114"/>
                                    </a:lnTo>
                                    <a:lnTo>
                                      <a:pt x="85" y="113"/>
                                    </a:lnTo>
                                    <a:lnTo>
                                      <a:pt x="84" y="113"/>
                                    </a:lnTo>
                                    <a:lnTo>
                                      <a:pt x="82" y="112"/>
                                    </a:lnTo>
                                    <a:lnTo>
                                      <a:pt x="80" y="112"/>
                                    </a:lnTo>
                                    <a:lnTo>
                                      <a:pt x="78" y="112"/>
                                    </a:lnTo>
                                    <a:lnTo>
                                      <a:pt x="76" y="111"/>
                                    </a:lnTo>
                                    <a:lnTo>
                                      <a:pt x="76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4" y="113"/>
                                    </a:lnTo>
                                    <a:lnTo>
                                      <a:pt x="73" y="113"/>
                                    </a:lnTo>
                                    <a:lnTo>
                                      <a:pt x="72" y="114"/>
                                    </a:lnTo>
                                    <a:lnTo>
                                      <a:pt x="71" y="115"/>
                                    </a:lnTo>
                                    <a:lnTo>
                                      <a:pt x="71" y="116"/>
                                    </a:lnTo>
                                    <a:lnTo>
                                      <a:pt x="70" y="118"/>
                                    </a:lnTo>
                                    <a:lnTo>
                                      <a:pt x="70" y="119"/>
                                    </a:lnTo>
                                    <a:lnTo>
                                      <a:pt x="69" y="120"/>
                                    </a:lnTo>
                                    <a:lnTo>
                                      <a:pt x="68" y="121"/>
                                    </a:lnTo>
                                    <a:lnTo>
                                      <a:pt x="68" y="122"/>
                                    </a:lnTo>
                                    <a:lnTo>
                                      <a:pt x="67" y="123"/>
                                    </a:lnTo>
                                    <a:lnTo>
                                      <a:pt x="66" y="124"/>
                                    </a:lnTo>
                                    <a:lnTo>
                                      <a:pt x="65" y="125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1" y="127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49" y="129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31"/>
                                    </a:lnTo>
                                    <a:lnTo>
                                      <a:pt x="47" y="132"/>
                                    </a:lnTo>
                                    <a:lnTo>
                                      <a:pt x="46" y="133"/>
                                    </a:lnTo>
                                    <a:lnTo>
                                      <a:pt x="45" y="133"/>
                                    </a:lnTo>
                                    <a:lnTo>
                                      <a:pt x="44" y="134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1" y="135"/>
                                    </a:lnTo>
                                    <a:lnTo>
                                      <a:pt x="41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1" y="130"/>
                                    </a:lnTo>
                                    <a:lnTo>
                                      <a:pt x="41" y="128"/>
                                    </a:lnTo>
                                    <a:lnTo>
                                      <a:pt x="42" y="128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39" y="125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4"/>
                                    </a:lnTo>
                                    <a:lnTo>
                                      <a:pt x="35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3" y="122"/>
                                    </a:lnTo>
                                    <a:lnTo>
                                      <a:pt x="32" y="121"/>
                                    </a:lnTo>
                                    <a:lnTo>
                                      <a:pt x="30" y="121"/>
                                    </a:lnTo>
                                    <a:lnTo>
                                      <a:pt x="29" y="120"/>
                                    </a:lnTo>
                                    <a:lnTo>
                                      <a:pt x="27" y="120"/>
                                    </a:lnTo>
                                    <a:lnTo>
                                      <a:pt x="24" y="119"/>
                                    </a:lnTo>
                                    <a:lnTo>
                                      <a:pt x="21" y="119"/>
                                    </a:lnTo>
                                    <a:lnTo>
                                      <a:pt x="18" y="118"/>
                                    </a:lnTo>
                                    <a:lnTo>
                                      <a:pt x="18" y="117"/>
                                    </a:lnTo>
                                    <a:lnTo>
                                      <a:pt x="19" y="116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4"/>
                                    </a:lnTo>
                                    <a:lnTo>
                                      <a:pt x="19" y="113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1"/>
                                    </a:lnTo>
                                    <a:lnTo>
                                      <a:pt x="19" y="110"/>
                                    </a:lnTo>
                                    <a:lnTo>
                                      <a:pt x="19" y="109"/>
                                    </a:lnTo>
                                    <a:lnTo>
                                      <a:pt x="18" y="109"/>
                                    </a:lnTo>
                                    <a:lnTo>
                                      <a:pt x="18" y="108"/>
                                    </a:lnTo>
                                    <a:lnTo>
                                      <a:pt x="17" y="108"/>
                                    </a:lnTo>
                                    <a:lnTo>
                                      <a:pt x="17" y="107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4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3" y="101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1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3" y="98"/>
                                    </a:lnTo>
                                    <a:lnTo>
                                      <a:pt x="13" y="97"/>
                                    </a:lnTo>
                                    <a:lnTo>
                                      <a:pt x="14" y="97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5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3"/>
                                    </a:lnTo>
                                    <a:lnTo>
                                      <a:pt x="14" y="92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4" y="88"/>
                                    </a:lnTo>
                                    <a:lnTo>
                                      <a:pt x="14" y="87"/>
                                    </a:lnTo>
                                    <a:lnTo>
                                      <a:pt x="15" y="87"/>
                                    </a:lnTo>
                                    <a:lnTo>
                                      <a:pt x="15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6" y="83"/>
                                    </a:lnTo>
                                    <a:lnTo>
                                      <a:pt x="16" y="82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7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8" y="78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8" y="73"/>
                                    </a:lnTo>
                                    <a:lnTo>
                                      <a:pt x="18" y="72"/>
                                    </a:lnTo>
                                    <a:lnTo>
                                      <a:pt x="19" y="70"/>
                                    </a:lnTo>
                                    <a:lnTo>
                                      <a:pt x="18" y="68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5" y="63"/>
                                    </a:lnTo>
                                    <a:lnTo>
                                      <a:pt x="14" y="62"/>
                                    </a:lnTo>
                                    <a:lnTo>
                                      <a:pt x="14" y="61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1" y="58"/>
                                    </a:lnTo>
                                    <a:lnTo>
                                      <a:pt x="10" y="58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7" y="57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5" y="53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4" y="51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3" y="50"/>
                                    </a:lnTo>
                                    <a:lnTo>
                                      <a:pt x="3" y="49"/>
                                    </a:lnTo>
                                    <a:lnTo>
                                      <a:pt x="2" y="49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7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5"/>
                                    </a:lnTo>
                                    <a:lnTo>
                                      <a:pt x="0" y="44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2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3" y="40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2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7" y="31"/>
                                    </a:lnTo>
                                    <a:lnTo>
                                      <a:pt x="8" y="30"/>
                                    </a:lnTo>
                                    <a:lnTo>
                                      <a:pt x="9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1" y="30"/>
                                    </a:lnTo>
                                    <a:lnTo>
                                      <a:pt x="12" y="30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4" y="31"/>
                                    </a:lnTo>
                                    <a:lnTo>
                                      <a:pt x="14" y="32"/>
                                    </a:lnTo>
                                    <a:lnTo>
                                      <a:pt x="15" y="32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7" y="32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8" y="30"/>
                                    </a:lnTo>
                                    <a:lnTo>
                                      <a:pt x="18" y="29"/>
                                    </a:lnTo>
                                    <a:lnTo>
                                      <a:pt x="19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7" y="23"/>
                                    </a:lnTo>
                                    <a:lnTo>
                                      <a:pt x="29" y="22"/>
                                    </a:lnTo>
                                    <a:lnTo>
                                      <a:pt x="30" y="21"/>
                                    </a:lnTo>
                                    <a:lnTo>
                                      <a:pt x="32" y="20"/>
                                    </a:lnTo>
                                    <a:lnTo>
                                      <a:pt x="32" y="19"/>
                                    </a:lnTo>
                                    <a:lnTo>
                                      <a:pt x="33" y="19"/>
                                    </a:lnTo>
                                    <a:lnTo>
                                      <a:pt x="33" y="18"/>
                                    </a:lnTo>
                                    <a:lnTo>
                                      <a:pt x="34" y="17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4"/>
                                    </a:lnTo>
                                    <a:lnTo>
                                      <a:pt x="35" y="13"/>
                                    </a:lnTo>
                                    <a:lnTo>
                                      <a:pt x="36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40" y="12"/>
                                    </a:lnTo>
                                    <a:lnTo>
                                      <a:pt x="41" y="12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1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5" y="9"/>
                                    </a:lnTo>
                                    <a:lnTo>
                                      <a:pt x="46" y="8"/>
                                    </a:lnTo>
                                    <a:lnTo>
                                      <a:pt x="46" y="7"/>
                                    </a:lnTo>
                                    <a:lnTo>
                                      <a:pt x="47" y="6"/>
                                    </a:lnTo>
                                    <a:lnTo>
                                      <a:pt x="47" y="5"/>
                                    </a:lnTo>
                                    <a:lnTo>
                                      <a:pt x="48" y="4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3"/>
                                    </a:lnTo>
                                    <a:lnTo>
                                      <a:pt x="50" y="3"/>
                                    </a:lnTo>
                                    <a:lnTo>
                                      <a:pt x="51" y="3"/>
                                    </a:lnTo>
                                    <a:lnTo>
                                      <a:pt x="52" y="3"/>
                                    </a:lnTo>
                                    <a:lnTo>
                                      <a:pt x="53" y="3"/>
                                    </a:lnTo>
                                    <a:lnTo>
                                      <a:pt x="54" y="3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60" y="0"/>
                                    </a:lnTo>
                                    <a:lnTo>
                                      <a:pt x="61" y="0"/>
                                    </a:lnTo>
                                    <a:lnTo>
                                      <a:pt x="61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4"/>
                                    </a:lnTo>
                                    <a:lnTo>
                                      <a:pt x="61" y="5"/>
                                    </a:lnTo>
                                    <a:lnTo>
                                      <a:pt x="61" y="6"/>
                                    </a:lnTo>
                                    <a:lnTo>
                                      <a:pt x="61" y="7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59" y="9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58" y="10"/>
                                    </a:lnTo>
                                    <a:lnTo>
                                      <a:pt x="57" y="10"/>
                                    </a:lnTo>
                                    <a:lnTo>
                                      <a:pt x="56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7" y="15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60" y="17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3" y="19"/>
                                    </a:lnTo>
                                    <a:lnTo>
                                      <a:pt x="65" y="20"/>
                                    </a:lnTo>
                                    <a:lnTo>
                                      <a:pt x="66" y="20"/>
                                    </a:lnTo>
                                    <a:lnTo>
                                      <a:pt x="66" y="21"/>
                                    </a:lnTo>
                                    <a:lnTo>
                                      <a:pt x="68" y="21"/>
                                    </a:lnTo>
                                    <a:lnTo>
                                      <a:pt x="70" y="22"/>
                                    </a:lnTo>
                                    <a:lnTo>
                                      <a:pt x="71" y="23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3" y="25"/>
                                    </a:lnTo>
                                    <a:lnTo>
                                      <a:pt x="74" y="25"/>
                                    </a:lnTo>
                                    <a:lnTo>
                                      <a:pt x="75" y="26"/>
                                    </a:lnTo>
                                    <a:lnTo>
                                      <a:pt x="76" y="26"/>
                                    </a:lnTo>
                                    <a:lnTo>
                                      <a:pt x="77" y="26"/>
                                    </a:lnTo>
                                    <a:lnTo>
                                      <a:pt x="78" y="26"/>
                                    </a:lnTo>
                                    <a:lnTo>
                                      <a:pt x="82" y="31"/>
                                    </a:lnTo>
                                    <a:lnTo>
                                      <a:pt x="86" y="35"/>
                                    </a:lnTo>
                                    <a:lnTo>
                                      <a:pt x="90" y="40"/>
                                    </a:lnTo>
                                    <a:lnTo>
                                      <a:pt x="93" y="44"/>
                                    </a:lnTo>
                                    <a:lnTo>
                                      <a:pt x="97" y="49"/>
                                    </a:lnTo>
                                    <a:lnTo>
                                      <a:pt x="101" y="54"/>
                                    </a:lnTo>
                                    <a:lnTo>
                                      <a:pt x="104" y="58"/>
                                    </a:lnTo>
                                    <a:lnTo>
                                      <a:pt x="108" y="63"/>
                                    </a:lnTo>
                                    <a:lnTo>
                                      <a:pt x="115" y="73"/>
                                    </a:lnTo>
                                    <a:lnTo>
                                      <a:pt x="116" y="77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0" name="Freeform 15">
                                <a:extLst>
                                  <a:ext uri="{FF2B5EF4-FFF2-40B4-BE49-F238E27FC236}">
                                    <a16:creationId xmlns:a16="http://schemas.microsoft.com/office/drawing/2014/main" xmlns="" id="{54172741-2003-48D4-88DF-DC8CF848E557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59799" y="1341312"/>
                                <a:ext cx="1384388" cy="963954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34" y="44"/>
                                  </a:cxn>
                                  <a:cxn ang="0">
                                    <a:pos x="132" y="48"/>
                                  </a:cxn>
                                  <a:cxn ang="0">
                                    <a:pos x="131" y="53"/>
                                  </a:cxn>
                                  <a:cxn ang="0">
                                    <a:pos x="136" y="54"/>
                                  </a:cxn>
                                  <a:cxn ang="0">
                                    <a:pos x="135" y="60"/>
                                  </a:cxn>
                                  <a:cxn ang="0">
                                    <a:pos x="137" y="67"/>
                                  </a:cxn>
                                  <a:cxn ang="0">
                                    <a:pos x="139" y="74"/>
                                  </a:cxn>
                                  <a:cxn ang="0">
                                    <a:pos x="128" y="71"/>
                                  </a:cxn>
                                  <a:cxn ang="0">
                                    <a:pos x="123" y="67"/>
                                  </a:cxn>
                                  <a:cxn ang="0">
                                    <a:pos x="114" y="68"/>
                                  </a:cxn>
                                  <a:cxn ang="0">
                                    <a:pos x="106" y="65"/>
                                  </a:cxn>
                                  <a:cxn ang="0">
                                    <a:pos x="94" y="59"/>
                                  </a:cxn>
                                  <a:cxn ang="0">
                                    <a:pos x="76" y="56"/>
                                  </a:cxn>
                                  <a:cxn ang="0">
                                    <a:pos x="65" y="49"/>
                                  </a:cxn>
                                  <a:cxn ang="0">
                                    <a:pos x="59" y="51"/>
                                  </a:cxn>
                                  <a:cxn ang="0">
                                    <a:pos x="44" y="54"/>
                                  </a:cxn>
                                  <a:cxn ang="0">
                                    <a:pos x="41" y="60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45" y="73"/>
                                  </a:cxn>
                                  <a:cxn ang="0">
                                    <a:pos x="31" y="85"/>
                                  </a:cxn>
                                  <a:cxn ang="0">
                                    <a:pos x="23" y="85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2" y="89"/>
                                  </a:cxn>
                                  <a:cxn ang="0">
                                    <a:pos x="1" y="72"/>
                                  </a:cxn>
                                  <a:cxn ang="0">
                                    <a:pos x="7" y="68"/>
                                  </a:cxn>
                                  <a:cxn ang="0">
                                    <a:pos x="7" y="59"/>
                                  </a:cxn>
                                  <a:cxn ang="0">
                                    <a:pos x="6" y="55"/>
                                  </a:cxn>
                                  <a:cxn ang="0">
                                    <a:pos x="6" y="50"/>
                                  </a:cxn>
                                  <a:cxn ang="0">
                                    <a:pos x="5" y="44"/>
                                  </a:cxn>
                                  <a:cxn ang="0">
                                    <a:pos x="7" y="39"/>
                                  </a:cxn>
                                  <a:cxn ang="0">
                                    <a:pos x="5" y="29"/>
                                  </a:cxn>
                                  <a:cxn ang="0">
                                    <a:pos x="10" y="23"/>
                                  </a:cxn>
                                  <a:cxn ang="0">
                                    <a:pos x="15" y="21"/>
                                  </a:cxn>
                                  <a:cxn ang="0">
                                    <a:pos x="20" y="18"/>
                                  </a:cxn>
                                  <a:cxn ang="0">
                                    <a:pos x="24" y="17"/>
                                  </a:cxn>
                                  <a:cxn ang="0">
                                    <a:pos x="30" y="15"/>
                                  </a:cxn>
                                  <a:cxn ang="0">
                                    <a:pos x="37" y="13"/>
                                  </a:cxn>
                                  <a:cxn ang="0">
                                    <a:pos x="42" y="8"/>
                                  </a:cxn>
                                  <a:cxn ang="0">
                                    <a:pos x="48" y="3"/>
                                  </a:cxn>
                                  <a:cxn ang="0">
                                    <a:pos x="53" y="0"/>
                                  </a:cxn>
                                  <a:cxn ang="0">
                                    <a:pos x="57" y="1"/>
                                  </a:cxn>
                                  <a:cxn ang="0">
                                    <a:pos x="62" y="3"/>
                                  </a:cxn>
                                  <a:cxn ang="0">
                                    <a:pos x="70" y="6"/>
                                  </a:cxn>
                                  <a:cxn ang="0">
                                    <a:pos x="73" y="7"/>
                                  </a:cxn>
                                  <a:cxn ang="0">
                                    <a:pos x="78" y="3"/>
                                  </a:cxn>
                                  <a:cxn ang="0">
                                    <a:pos x="82" y="1"/>
                                  </a:cxn>
                                  <a:cxn ang="0">
                                    <a:pos x="85" y="5"/>
                                  </a:cxn>
                                  <a:cxn ang="0">
                                    <a:pos x="86" y="12"/>
                                  </a:cxn>
                                  <a:cxn ang="0">
                                    <a:pos x="89" y="19"/>
                                  </a:cxn>
                                  <a:cxn ang="0">
                                    <a:pos x="88" y="30"/>
                                  </a:cxn>
                                  <a:cxn ang="0">
                                    <a:pos x="92" y="37"/>
                                  </a:cxn>
                                  <a:cxn ang="0">
                                    <a:pos x="103" y="36"/>
                                  </a:cxn>
                                  <a:cxn ang="0">
                                    <a:pos x="107" y="33"/>
                                  </a:cxn>
                                  <a:cxn ang="0">
                                    <a:pos x="110" y="31"/>
                                  </a:cxn>
                                  <a:cxn ang="0">
                                    <a:pos x="114" y="41"/>
                                  </a:cxn>
                                  <a:cxn ang="0">
                                    <a:pos x="119" y="42"/>
                                  </a:cxn>
                                  <a:cxn ang="0">
                                    <a:pos x="121" y="38"/>
                                  </a:cxn>
                                  <a:cxn ang="0">
                                    <a:pos x="127" y="38"/>
                                  </a:cxn>
                                  <a:cxn ang="0">
                                    <a:pos x="131" y="41"/>
                                  </a:cxn>
                                  <a:cxn ang="0">
                                    <a:pos x="135" y="40"/>
                                  </a:cxn>
                                  <a:cxn ang="0">
                                    <a:pos x="139" y="39"/>
                                  </a:cxn>
                                </a:cxnLst>
                                <a:rect l="0" t="0" r="r" b="b"/>
                                <a:pathLst>
                                  <a:path w="139" h="90">
                                    <a:moveTo>
                                      <a:pt x="139" y="40"/>
                                    </a:moveTo>
                                    <a:lnTo>
                                      <a:pt x="139" y="40"/>
                                    </a:lnTo>
                                    <a:lnTo>
                                      <a:pt x="139" y="40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8" y="41"/>
                                    </a:lnTo>
                                    <a:lnTo>
                                      <a:pt x="137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5" y="42"/>
                                    </a:lnTo>
                                    <a:lnTo>
                                      <a:pt x="135" y="43"/>
                                    </a:lnTo>
                                    <a:lnTo>
                                      <a:pt x="134" y="43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9"/>
                                    </a:lnTo>
                                    <a:lnTo>
                                      <a:pt x="130" y="49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1" y="51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6" y="53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8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5" y="60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4" y="62"/>
                                    </a:lnTo>
                                    <a:lnTo>
                                      <a:pt x="134" y="63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5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5" y="67"/>
                                    </a:lnTo>
                                    <a:lnTo>
                                      <a:pt x="136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9"/>
                                    </a:lnTo>
                                    <a:lnTo>
                                      <a:pt x="139" y="69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1"/>
                                    </a:lnTo>
                                    <a:lnTo>
                                      <a:pt x="139" y="72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7" y="75"/>
                                    </a:lnTo>
                                    <a:lnTo>
                                      <a:pt x="136" y="75"/>
                                    </a:lnTo>
                                    <a:lnTo>
                                      <a:pt x="135" y="75"/>
                                    </a:lnTo>
                                    <a:lnTo>
                                      <a:pt x="134" y="74"/>
                                    </a:lnTo>
                                    <a:lnTo>
                                      <a:pt x="133" y="74"/>
                                    </a:lnTo>
                                    <a:lnTo>
                                      <a:pt x="132" y="74"/>
                                    </a:lnTo>
                                    <a:lnTo>
                                      <a:pt x="131" y="73"/>
                                    </a:lnTo>
                                    <a:lnTo>
                                      <a:pt x="130" y="73"/>
                                    </a:lnTo>
                                    <a:lnTo>
                                      <a:pt x="129" y="72"/>
                                    </a:lnTo>
                                    <a:lnTo>
                                      <a:pt x="128" y="71"/>
                                    </a:lnTo>
                                    <a:lnTo>
                                      <a:pt x="127" y="70"/>
                                    </a:lnTo>
                                    <a:lnTo>
                                      <a:pt x="125" y="69"/>
                                    </a:lnTo>
                                    <a:lnTo>
                                      <a:pt x="125" y="68"/>
                                    </a:lnTo>
                                    <a:lnTo>
                                      <a:pt x="124" y="68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8"/>
                                    </a:lnTo>
                                    <a:lnTo>
                                      <a:pt x="120" y="68"/>
                                    </a:lnTo>
                                    <a:lnTo>
                                      <a:pt x="119" y="68"/>
                                    </a:lnTo>
                                    <a:lnTo>
                                      <a:pt x="117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9"/>
                                    </a:lnTo>
                                    <a:lnTo>
                                      <a:pt x="114" y="70"/>
                                    </a:lnTo>
                                    <a:lnTo>
                                      <a:pt x="112" y="70"/>
                                    </a:lnTo>
                                    <a:lnTo>
                                      <a:pt x="110" y="70"/>
                                    </a:lnTo>
                                    <a:lnTo>
                                      <a:pt x="109" y="70"/>
                                    </a:lnTo>
                                    <a:lnTo>
                                      <a:pt x="107" y="70"/>
                                    </a:lnTo>
                                    <a:lnTo>
                                      <a:pt x="107" y="68"/>
                                    </a:lnTo>
                                    <a:lnTo>
                                      <a:pt x="107" y="67"/>
                                    </a:lnTo>
                                    <a:lnTo>
                                      <a:pt x="107" y="66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5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2"/>
                                    </a:lnTo>
                                    <a:lnTo>
                                      <a:pt x="103" y="62"/>
                                    </a:lnTo>
                                    <a:lnTo>
                                      <a:pt x="102" y="61"/>
                                    </a:lnTo>
                                    <a:lnTo>
                                      <a:pt x="101" y="61"/>
                                    </a:lnTo>
                                    <a:lnTo>
                                      <a:pt x="101" y="60"/>
                                    </a:lnTo>
                                    <a:lnTo>
                                      <a:pt x="100" y="60"/>
                                    </a:lnTo>
                                    <a:lnTo>
                                      <a:pt x="98" y="60"/>
                                    </a:lnTo>
                                    <a:lnTo>
                                      <a:pt x="96" y="59"/>
                                    </a:lnTo>
                                    <a:lnTo>
                                      <a:pt x="94" y="59"/>
                                    </a:lnTo>
                                    <a:lnTo>
                                      <a:pt x="92" y="59"/>
                                    </a:lnTo>
                                    <a:lnTo>
                                      <a:pt x="89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3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8" y="57"/>
                                    </a:lnTo>
                                    <a:lnTo>
                                      <a:pt x="77" y="57"/>
                                    </a:lnTo>
                                    <a:lnTo>
                                      <a:pt x="76" y="56"/>
                                    </a:lnTo>
                                    <a:lnTo>
                                      <a:pt x="75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3" y="54"/>
                                    </a:lnTo>
                                    <a:lnTo>
                                      <a:pt x="72" y="53"/>
                                    </a:lnTo>
                                    <a:lnTo>
                                      <a:pt x="72" y="52"/>
                                    </a:lnTo>
                                    <a:lnTo>
                                      <a:pt x="71" y="52"/>
                                    </a:lnTo>
                                    <a:lnTo>
                                      <a:pt x="70" y="51"/>
                                    </a:lnTo>
                                    <a:lnTo>
                                      <a:pt x="69" y="50"/>
                                    </a:lnTo>
                                    <a:lnTo>
                                      <a:pt x="68" y="50"/>
                                    </a:lnTo>
                                    <a:lnTo>
                                      <a:pt x="67" y="50"/>
                                    </a:lnTo>
                                    <a:lnTo>
                                      <a:pt x="66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4" y="49"/>
                                    </a:lnTo>
                                    <a:lnTo>
                                      <a:pt x="63" y="49"/>
                                    </a:lnTo>
                                    <a:lnTo>
                                      <a:pt x="62" y="50"/>
                                    </a:lnTo>
                                    <a:lnTo>
                                      <a:pt x="62" y="49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59" y="51"/>
                                    </a:lnTo>
                                    <a:lnTo>
                                      <a:pt x="57" y="51"/>
                                    </a:lnTo>
                                    <a:lnTo>
                                      <a:pt x="56" y="51"/>
                                    </a:lnTo>
                                    <a:lnTo>
                                      <a:pt x="54" y="51"/>
                                    </a:lnTo>
                                    <a:lnTo>
                                      <a:pt x="53" y="51"/>
                                    </a:lnTo>
                                    <a:lnTo>
                                      <a:pt x="52" y="51"/>
                                    </a:lnTo>
                                    <a:lnTo>
                                      <a:pt x="50" y="51"/>
                                    </a:lnTo>
                                    <a:lnTo>
                                      <a:pt x="49" y="52"/>
                                    </a:lnTo>
                                    <a:lnTo>
                                      <a:pt x="48" y="52"/>
                                    </a:lnTo>
                                    <a:lnTo>
                                      <a:pt x="47" y="52"/>
                                    </a:lnTo>
                                    <a:lnTo>
                                      <a:pt x="46" y="53"/>
                                    </a:lnTo>
                                    <a:lnTo>
                                      <a:pt x="45" y="53"/>
                                    </a:lnTo>
                                    <a:lnTo>
                                      <a:pt x="44" y="54"/>
                                    </a:lnTo>
                                    <a:lnTo>
                                      <a:pt x="44" y="55"/>
                                    </a:lnTo>
                                    <a:lnTo>
                                      <a:pt x="43" y="55"/>
                                    </a:lnTo>
                                    <a:lnTo>
                                      <a:pt x="42" y="56"/>
                                    </a:lnTo>
                                    <a:lnTo>
                                      <a:pt x="42" y="57"/>
                                    </a:lnTo>
                                    <a:lnTo>
                                      <a:pt x="42" y="58"/>
                                    </a:lnTo>
                                    <a:lnTo>
                                      <a:pt x="42" y="59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3"/>
                                    </a:lnTo>
                                    <a:lnTo>
                                      <a:pt x="42" y="64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42" y="66"/>
                                    </a:lnTo>
                                    <a:lnTo>
                                      <a:pt x="42" y="67"/>
                                    </a:lnTo>
                                    <a:lnTo>
                                      <a:pt x="43" y="67"/>
                                    </a:lnTo>
                                    <a:lnTo>
                                      <a:pt x="43" y="68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5" y="70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2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3" y="76"/>
                                    </a:lnTo>
                                    <a:lnTo>
                                      <a:pt x="41" y="78"/>
                                    </a:lnTo>
                                    <a:lnTo>
                                      <a:pt x="39" y="80"/>
                                    </a:lnTo>
                                    <a:lnTo>
                                      <a:pt x="37" y="81"/>
                                    </a:lnTo>
                                    <a:lnTo>
                                      <a:pt x="36" y="82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4" y="83"/>
                                    </a:lnTo>
                                    <a:lnTo>
                                      <a:pt x="32" y="84"/>
                                    </a:lnTo>
                                    <a:lnTo>
                                      <a:pt x="31" y="85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7" y="85"/>
                                    </a:lnTo>
                                    <a:lnTo>
                                      <a:pt x="26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2" y="85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1" y="86"/>
                                    </a:lnTo>
                                    <a:lnTo>
                                      <a:pt x="21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8"/>
                                    </a:lnTo>
                                    <a:lnTo>
                                      <a:pt x="17" y="88"/>
                                    </a:lnTo>
                                    <a:lnTo>
                                      <a:pt x="16" y="89"/>
                                    </a:lnTo>
                                    <a:lnTo>
                                      <a:pt x="15" y="89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3" y="90"/>
                                    </a:lnTo>
                                    <a:lnTo>
                                      <a:pt x="12" y="90"/>
                                    </a:lnTo>
                                    <a:lnTo>
                                      <a:pt x="11" y="90"/>
                                    </a:lnTo>
                                    <a:lnTo>
                                      <a:pt x="10" y="90"/>
                                    </a:lnTo>
                                    <a:lnTo>
                                      <a:pt x="9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5" y="90"/>
                                    </a:lnTo>
                                    <a:lnTo>
                                      <a:pt x="4" y="90"/>
                                    </a:lnTo>
                                    <a:lnTo>
                                      <a:pt x="3" y="90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1" y="88"/>
                                    </a:lnTo>
                                    <a:lnTo>
                                      <a:pt x="1" y="87"/>
                                    </a:lnTo>
                                    <a:lnTo>
                                      <a:pt x="1" y="86"/>
                                    </a:lnTo>
                                    <a:lnTo>
                                      <a:pt x="0" y="85"/>
                                    </a:lnTo>
                                    <a:lnTo>
                                      <a:pt x="0" y="84"/>
                                    </a:lnTo>
                                    <a:lnTo>
                                      <a:pt x="0" y="82"/>
                                    </a:lnTo>
                                    <a:lnTo>
                                      <a:pt x="0" y="81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1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6" y="70"/>
                                    </a:lnTo>
                                    <a:lnTo>
                                      <a:pt x="6" y="69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8" y="65"/>
                                    </a:lnTo>
                                    <a:lnTo>
                                      <a:pt x="8" y="63"/>
                                    </a:lnTo>
                                    <a:lnTo>
                                      <a:pt x="9" y="62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7" y="59"/>
                                    </a:lnTo>
                                    <a:lnTo>
                                      <a:pt x="6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4" y="58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5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6" y="50"/>
                                    </a:lnTo>
                                    <a:lnTo>
                                      <a:pt x="6" y="49"/>
                                    </a:lnTo>
                                    <a:lnTo>
                                      <a:pt x="5" y="48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3" y="46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2" y="44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3"/>
                                    </a:lnTo>
                                    <a:lnTo>
                                      <a:pt x="7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39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6" y="38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5" y="36"/>
                                    </a:lnTo>
                                    <a:lnTo>
                                      <a:pt x="5" y="35"/>
                                    </a:lnTo>
                                    <a:lnTo>
                                      <a:pt x="5" y="34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5" y="31"/>
                                    </a:lnTo>
                                    <a:lnTo>
                                      <a:pt x="5" y="30"/>
                                    </a:lnTo>
                                    <a:lnTo>
                                      <a:pt x="5" y="29"/>
                                    </a:lnTo>
                                    <a:lnTo>
                                      <a:pt x="5" y="28"/>
                                    </a:lnTo>
                                    <a:lnTo>
                                      <a:pt x="5" y="27"/>
                                    </a:lnTo>
                                    <a:lnTo>
                                      <a:pt x="5" y="26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1" y="22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2" y="21"/>
                                    </a:lnTo>
                                    <a:lnTo>
                                      <a:pt x="13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7" y="19"/>
                                    </a:lnTo>
                                    <a:lnTo>
                                      <a:pt x="18" y="19"/>
                                    </a:lnTo>
                                    <a:lnTo>
                                      <a:pt x="19" y="19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30" y="15"/>
                                    </a:lnTo>
                                    <a:lnTo>
                                      <a:pt x="31" y="15"/>
                                    </a:lnTo>
                                    <a:lnTo>
                                      <a:pt x="32" y="15"/>
                                    </a:lnTo>
                                    <a:lnTo>
                                      <a:pt x="33" y="15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5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1" y="8"/>
                                    </a:lnTo>
                                    <a:lnTo>
                                      <a:pt x="42" y="8"/>
                                    </a:lnTo>
                                    <a:lnTo>
                                      <a:pt x="43" y="7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6" y="4"/>
                                    </a:lnTo>
                                    <a:lnTo>
                                      <a:pt x="46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1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3"/>
                                    </a:lnTo>
                                    <a:lnTo>
                                      <a:pt x="64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8" y="5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1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7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4" y="3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5" y="6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5" y="9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4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6"/>
                                    </a:lnTo>
                                    <a:lnTo>
                                      <a:pt x="87" y="17"/>
                                    </a:lnTo>
                                    <a:lnTo>
                                      <a:pt x="88" y="17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90" y="19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4"/>
                                    </a:lnTo>
                                    <a:lnTo>
                                      <a:pt x="90" y="26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89" y="28"/>
                                    </a:lnTo>
                                    <a:lnTo>
                                      <a:pt x="89" y="29"/>
                                    </a:lnTo>
                                    <a:lnTo>
                                      <a:pt x="88" y="29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2"/>
                                    </a:lnTo>
                                    <a:lnTo>
                                      <a:pt x="87" y="33"/>
                                    </a:lnTo>
                                    <a:lnTo>
                                      <a:pt x="87" y="34"/>
                                    </a:lnTo>
                                    <a:lnTo>
                                      <a:pt x="87" y="35"/>
                                    </a:lnTo>
                                    <a:lnTo>
                                      <a:pt x="88" y="35"/>
                                    </a:lnTo>
                                    <a:lnTo>
                                      <a:pt x="89" y="36"/>
                                    </a:lnTo>
                                    <a:lnTo>
                                      <a:pt x="90" y="36"/>
                                    </a:lnTo>
                                    <a:lnTo>
                                      <a:pt x="91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4" y="38"/>
                                    </a:lnTo>
                                    <a:lnTo>
                                      <a:pt x="95" y="38"/>
                                    </a:lnTo>
                                    <a:lnTo>
                                      <a:pt x="96" y="38"/>
                                    </a:lnTo>
                                    <a:lnTo>
                                      <a:pt x="97" y="37"/>
                                    </a:lnTo>
                                    <a:lnTo>
                                      <a:pt x="98" y="37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0" y="37"/>
                                    </a:lnTo>
                                    <a:lnTo>
                                      <a:pt x="102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4" y="36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6" y="34"/>
                                    </a:lnTo>
                                    <a:lnTo>
                                      <a:pt x="106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2" y="33"/>
                                    </a:lnTo>
                                    <a:lnTo>
                                      <a:pt x="112" y="34"/>
                                    </a:lnTo>
                                    <a:lnTo>
                                      <a:pt x="113" y="35"/>
                                    </a:lnTo>
                                    <a:lnTo>
                                      <a:pt x="113" y="36"/>
                                    </a:lnTo>
                                    <a:lnTo>
                                      <a:pt x="113" y="37"/>
                                    </a:lnTo>
                                    <a:lnTo>
                                      <a:pt x="113" y="38"/>
                                    </a:lnTo>
                                    <a:lnTo>
                                      <a:pt x="114" y="39"/>
                                    </a:lnTo>
                                    <a:lnTo>
                                      <a:pt x="114" y="40"/>
                                    </a:lnTo>
                                    <a:lnTo>
                                      <a:pt x="114" y="41"/>
                                    </a:lnTo>
                                    <a:lnTo>
                                      <a:pt x="115" y="41"/>
                                    </a:lnTo>
                                    <a:lnTo>
                                      <a:pt x="115" y="42"/>
                                    </a:lnTo>
                                    <a:lnTo>
                                      <a:pt x="116" y="42"/>
                                    </a:lnTo>
                                    <a:lnTo>
                                      <a:pt x="116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2" y="38"/>
                                    </a:lnTo>
                                    <a:lnTo>
                                      <a:pt x="122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5" y="36"/>
                                    </a:lnTo>
                                    <a:lnTo>
                                      <a:pt x="125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8"/>
                                    </a:lnTo>
                                    <a:lnTo>
                                      <a:pt x="127" y="38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9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5" y="41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6" y="40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9" y="39"/>
                                    </a:lnTo>
                                    <a:lnTo>
                                      <a:pt x="139" y="40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1" name="Text Box 30">
                                <a:extLst>
                                  <a:ext uri="{FF2B5EF4-FFF2-40B4-BE49-F238E27FC236}">
                                    <a16:creationId xmlns:a16="http://schemas.microsoft.com/office/drawing/2014/main" xmlns="" id="{28B94DCD-41F5-47AB-A9D6-A2BEBD01EA66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7"/>
                                </p:custDataLst>
                              </p:nvPr>
                            </p:nvSpPr>
                            <p:spPr bwMode="auto">
                              <a:xfrm>
                                <a:off x="826517" y="2755602"/>
                                <a:ext cx="994453" cy="24033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WKR</a:t>
                                </a:r>
                                <a:endParaRPr lang="en-US" sz="10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2" name="Text Box 31">
                                <a:extLst>
                                  <a:ext uri="{FF2B5EF4-FFF2-40B4-BE49-F238E27FC236}">
                                    <a16:creationId xmlns:a16="http://schemas.microsoft.com/office/drawing/2014/main" xmlns="" id="{7134670E-17AF-49DE-BFD2-42458767DC3F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8"/>
                                </p:custDataLst>
                              </p:nvPr>
                            </p:nvSpPr>
                            <p:spPr bwMode="auto">
                              <a:xfrm>
                                <a:off x="520906" y="4587796"/>
                                <a:ext cx="1843544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Mangystau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9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3" name="Text Box 23">
                                <a:extLst>
                                  <a:ext uri="{FF2B5EF4-FFF2-40B4-BE49-F238E27FC236}">
                                    <a16:creationId xmlns:a16="http://schemas.microsoft.com/office/drawing/2014/main" xmlns="" id="{43F6EAA4-A6DD-4B66-853E-94E62A6D18C5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9"/>
                                </p:custDataLst>
                              </p:nvPr>
                            </p:nvSpPr>
                            <p:spPr bwMode="auto">
                              <a:xfrm>
                                <a:off x="4818834" y="2033904"/>
                                <a:ext cx="614414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Akmola</a:t>
                                </a:r>
                                <a:r>
                                  <a:rPr lang="en-US" sz="800" b="1" dirty="0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  <a:endParaRPr lang="en-US" sz="800" b="1" dirty="0" smtClean="0"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4" name="Text Box 26">
                                <a:extLst>
                                  <a:ext uri="{FF2B5EF4-FFF2-40B4-BE49-F238E27FC236}">
                                    <a16:creationId xmlns:a16="http://schemas.microsoft.com/office/drawing/2014/main" xmlns="" id="{06F135EB-79D7-47A0-974A-05029F4CCEB5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0"/>
                                </p:custDataLst>
                              </p:nvPr>
                            </p:nvSpPr>
                            <p:spPr bwMode="auto">
                              <a:xfrm>
                                <a:off x="3158401" y="4409988"/>
                                <a:ext cx="758565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5pPr>
                                <a:lvl6pPr marL="25146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6pPr>
                                <a:lvl7pPr marL="29718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7pPr>
                                <a:lvl8pPr marL="34290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8pPr>
                                <a:lvl9pPr marL="38862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9pPr>
                              </a:lstStyle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en-US" altLang="ru-RU" sz="800" b="1" dirty="0" err="1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Kyzylorda</a:t>
                                </a:r>
                                <a:r>
                                  <a:rPr lang="en-US" altLang="ru-RU" sz="800" b="1" dirty="0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en-US" altLang="ru-RU" sz="800" b="1" dirty="0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altLang="ru-RU" sz="800" b="1" dirty="0">
                                  <a:solidFill>
                                    <a:srgbClr val="000000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5" name="Text Box 28">
                                <a:extLst>
                                  <a:ext uri="{FF2B5EF4-FFF2-40B4-BE49-F238E27FC236}">
                                    <a16:creationId xmlns:a16="http://schemas.microsoft.com/office/drawing/2014/main" xmlns="" id="{A1A34601-1C44-473B-9B01-1C7FB652F60F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1"/>
                                </p:custDataLst>
                              </p:nvPr>
                            </p:nvSpPr>
                            <p:spPr bwMode="auto">
                              <a:xfrm>
                                <a:off x="2542088" y="3367344"/>
                                <a:ext cx="578967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Aktobe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6" name="Text Box 29">
                                <a:extLst>
                                  <a:ext uri="{FF2B5EF4-FFF2-40B4-BE49-F238E27FC236}">
                                    <a16:creationId xmlns:a16="http://schemas.microsoft.com/office/drawing/2014/main" xmlns="" id="{6C812456-FABB-4FF2-8B2F-D8E66D22554C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2"/>
                                </p:custDataLst>
                              </p:nvPr>
                            </p:nvSpPr>
                            <p:spPr bwMode="auto">
                              <a:xfrm>
                                <a:off x="405802" y="3168786"/>
                                <a:ext cx="1778029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Atyrau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dirty="0">
                                  <a:solidFill>
                                    <a:srgbClr val="4472C4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7" name="Text Box 32">
                                <a:extLst>
                                  <a:ext uri="{FF2B5EF4-FFF2-40B4-BE49-F238E27FC236}">
                                    <a16:creationId xmlns:a16="http://schemas.microsoft.com/office/drawing/2014/main" xmlns="" id="{CE14969C-F833-42C0-9FD7-A19FA4E1CBF4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3"/>
                                </p:custDataLst>
                              </p:nvPr>
                            </p:nvSpPr>
                            <p:spPr bwMode="auto">
                              <a:xfrm>
                                <a:off x="3194343" y="2514850"/>
                                <a:ext cx="1260561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Kostanay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8" name="Text Box 33">
                                <a:extLst>
                                  <a:ext uri="{FF2B5EF4-FFF2-40B4-BE49-F238E27FC236}">
                                    <a16:creationId xmlns:a16="http://schemas.microsoft.com/office/drawing/2014/main" xmlns="" id="{4074B138-1E9C-4932-B073-26282C766695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4"/>
                                </p:custDataLst>
                              </p:nvPr>
                            </p:nvSpPr>
                            <p:spPr bwMode="auto">
                              <a:xfrm>
                                <a:off x="4462842" y="1577265"/>
                                <a:ext cx="477615" cy="231389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NKR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9" name="Text Box 34">
                                <a:extLst>
                                  <a:ext uri="{FF2B5EF4-FFF2-40B4-BE49-F238E27FC236}">
                                    <a16:creationId xmlns:a16="http://schemas.microsoft.com/office/drawing/2014/main" xmlns="" id="{2AFEA40C-EF89-4B1D-9E77-D72547C70532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5"/>
                                </p:custDataLst>
                              </p:nvPr>
                            </p:nvSpPr>
                            <p:spPr bwMode="auto">
                              <a:xfrm>
                                <a:off x="5242350" y="1864876"/>
                                <a:ext cx="1811972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Pavlodar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0" name="Text Box 36">
                                <a:extLst>
                                  <a:ext uri="{FF2B5EF4-FFF2-40B4-BE49-F238E27FC236}">
                                    <a16:creationId xmlns:a16="http://schemas.microsoft.com/office/drawing/2014/main" xmlns="" id="{81A853CD-217D-4CFC-967A-7BDC09D4E6DC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6"/>
                                </p:custDataLst>
                              </p:nvPr>
                            </p:nvSpPr>
                            <p:spPr bwMode="auto">
                              <a:xfrm>
                                <a:off x="6030671" y="4059444"/>
                                <a:ext cx="1579956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cs typeface="Arial" panose="020B0604020202020204" pitchFamily="34" charset="0"/>
                                  </a:rPr>
                                  <a:t>Almaty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1" name="Text Box 47">
                                <a:extLst>
                                  <a:ext uri="{FF2B5EF4-FFF2-40B4-BE49-F238E27FC236}">
                                    <a16:creationId xmlns:a16="http://schemas.microsoft.com/office/drawing/2014/main" xmlns="" id="{4A57B0B6-8E8F-481F-8339-A756F78DA8B8}"/>
                                  </a:ext>
                                </a:extLst>
                              </p:cNvPr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7"/>
                                </p:custDataLst>
                              </p:nvPr>
                            </p:nvSpPr>
                            <p:spPr bwMode="auto">
                              <a:xfrm>
                                <a:off x="5243438" y="4535769"/>
                                <a:ext cx="671129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Zhambyl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1050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</p:grpSp>
                      </p:grpSp>
                      <p:sp>
                        <p:nvSpPr>
                          <p:cNvPr id="123" name="Text Box 28">
                            <a:extLst>
                              <a:ext uri="{FF2B5EF4-FFF2-40B4-BE49-F238E27FC236}">
                                <a16:creationId xmlns:a16="http://schemas.microsoft.com/office/drawing/2014/main" xmlns="" id="{581A0787-750A-4D16-9D69-7DEB028143F5}"/>
                              </a:ext>
                            </a:extLst>
                          </p:cNvPr>
                          <p:cNvSpPr txBox="1">
                            <a:spLocks noChangeArrowheads="1"/>
                          </p:cNvSpPr>
                          <p:nvPr>
                            <p:custDataLst>
                              <p:tags r:id="rId4"/>
                            </p:custDataLst>
                          </p:nvPr>
                        </p:nvSpPr>
                        <p:spPr bwMode="auto">
                          <a:xfrm>
                            <a:off x="2378982" y="5320613"/>
                            <a:ext cx="390333" cy="23179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  <p:txBody>
                          <a:bodyPr wrap="none"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5pPr>
                            <a:lvl6pPr marL="25146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6pPr>
                            <a:lvl7pPr marL="29718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7pPr>
                            <a:lvl8pPr marL="34290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8pPr>
                            <a:lvl9pPr marL="38862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9pPr>
                          </a:lstStyle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latin typeface="+mn-lt"/>
                                <a:cs typeface="Arial" panose="020B0604020202020204" pitchFamily="34" charset="0"/>
                              </a:rPr>
                              <a:t>Karaganda </a:t>
                            </a:r>
                          </a:p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latin typeface="+mn-lt"/>
                                <a:cs typeface="Arial" panose="020B0604020202020204" pitchFamily="34" charset="0"/>
                              </a:rPr>
                              <a:t>region</a:t>
                            </a:r>
                            <a:endParaRPr lang="en-US" sz="800" b="1" dirty="0"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4" name="Text Box 33">
                            <a:extLst>
                              <a:ext uri="{FF2B5EF4-FFF2-40B4-BE49-F238E27FC236}">
                                <a16:creationId xmlns:a16="http://schemas.microsoft.com/office/drawing/2014/main" xmlns="" id="{6261CAD4-BCE3-4D80-BB66-D071AE1DF1E7}"/>
                              </a:ext>
                            </a:extLst>
                          </p:cNvPr>
                          <p:cNvSpPr txBox="1">
                            <a:spLocks noChangeArrowheads="1"/>
                          </p:cNvSpPr>
                          <p:nvPr>
                            <p:custDataLst>
                              <p:tags r:id="rId5"/>
                            </p:custDataLst>
                          </p:nvPr>
                        </p:nvSpPr>
                        <p:spPr bwMode="auto">
                          <a:xfrm>
                            <a:off x="2012190" y="5957194"/>
                            <a:ext cx="707086" cy="231790"/>
                          </a:xfrm>
                          <a:prstGeom prst="rect">
                            <a:avLst/>
                          </a:prstGeom>
                          <a:noFill/>
                          <a:ln w="9525">
                            <a:noFill/>
                            <a:miter lim="800000"/>
                            <a:headEnd/>
                            <a:tailEnd/>
                          </a:ln>
                          <a:effectLst/>
                        </p:spPr>
                        <p:txBody>
                          <a:bodyPr wrap="square" lIns="0" tIns="0" rIns="0" bIns="0" anchor="ctr">
                            <a:spAutoFit/>
                          </a:bodyPr>
                          <a:lstStyle/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Turkestan </a:t>
                            </a:r>
                          </a:p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region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5" name="Text Box 33">
                            <a:extLst>
                              <a:ext uri="{FF2B5EF4-FFF2-40B4-BE49-F238E27FC236}">
                                <a16:creationId xmlns:a16="http://schemas.microsoft.com/office/drawing/2014/main" xmlns="" id="{B92FC7E7-9986-456B-8446-E457EDCE523C}"/>
                              </a:ext>
                            </a:extLst>
                          </p:cNvPr>
                          <p:cNvSpPr txBox="1">
                            <a:spLocks noChangeArrowheads="1"/>
                          </p:cNvSpPr>
                          <p:nvPr>
                            <p:custDataLst>
                              <p:tags r:id="rId6"/>
                            </p:custDataLst>
                          </p:nvPr>
                        </p:nvSpPr>
                        <p:spPr bwMode="auto">
                          <a:xfrm>
                            <a:off x="3506212" y="5110412"/>
                            <a:ext cx="214689" cy="11589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5pPr>
                            <a:lvl6pPr marL="25146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6pPr>
                            <a:lvl7pPr marL="29718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7pPr>
                            <a:lvl8pPr marL="34290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8pPr>
                            <a:lvl9pPr marL="38862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9pPr>
                          </a:lstStyle>
                          <a:p>
                            <a:pPr algn="ctr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</a:pPr>
                            <a:r>
                              <a:rPr lang="en-US" altLang="ru-RU" sz="800" b="1" dirty="0" smtClean="0">
                                <a:latin typeface="+mn-lt"/>
                                <a:cs typeface="Arial" panose="020B0604020202020204" pitchFamily="34" charset="0"/>
                              </a:rPr>
                              <a:t>EKR</a:t>
                            </a:r>
                            <a:endParaRPr lang="en-US" altLang="ru-RU" sz="900" b="1" dirty="0"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  <p:sp>
                      <p:nvSpPr>
                        <p:cNvPr id="111" name="Rechteckige Legende 583">
                          <a:extLst>
                            <a:ext uri="{FF2B5EF4-FFF2-40B4-BE49-F238E27FC236}">
                              <a16:creationId xmlns:a16="http://schemas.microsoft.com/office/drawing/2014/main" xmlns="" id="{2DDA8620-5690-4DC8-90B5-BAB715C34A91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2739598" y="5336876"/>
                          <a:ext cx="230490" cy="214314"/>
                        </a:xfrm>
                        <a:prstGeom prst="wedgeRectCallout">
                          <a:avLst>
                            <a:gd name="adj1" fmla="val 19261"/>
                            <a:gd name="adj2" fmla="val -78853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163,3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6" name="Rechteckige Legende 583">
                          <a:extLst>
                            <a:ext uri="{FF2B5EF4-FFF2-40B4-BE49-F238E27FC236}">
                              <a16:creationId xmlns:a16="http://schemas.microsoft.com/office/drawing/2014/main" xmlns="" id="{CF2BBC8C-D079-40C1-8C59-B989256D0EC2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3942903" y="4663329"/>
                          <a:ext cx="242549" cy="143549"/>
                        </a:xfrm>
                        <a:prstGeom prst="wedgeRectCallout">
                          <a:avLst>
                            <a:gd name="adj1" fmla="val -35792"/>
                            <a:gd name="adj2" fmla="val 85113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126,9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7" name="Rechteckige Legende 583">
                          <a:extLst>
                            <a:ext uri="{FF2B5EF4-FFF2-40B4-BE49-F238E27FC236}">
                              <a16:creationId xmlns:a16="http://schemas.microsoft.com/office/drawing/2014/main" xmlns="" id="{6515417F-872B-4E5D-925F-3E175CFE9E67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3286542" y="4566495"/>
                          <a:ext cx="234046" cy="167965"/>
                        </a:xfrm>
                        <a:prstGeom prst="wedgeRectCallout">
                          <a:avLst>
                            <a:gd name="adj1" fmla="val 21967"/>
                            <a:gd name="adj2" fmla="val -8101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145,8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8" name="Rechteckige Legende 583">
                          <a:extLst>
                            <a:ext uri="{FF2B5EF4-FFF2-40B4-BE49-F238E27FC236}">
                              <a16:creationId xmlns:a16="http://schemas.microsoft.com/office/drawing/2014/main" xmlns="" id="{4CA69110-EBF8-4B22-934B-6EE7CD5F04F6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1527262" y="4897716"/>
                          <a:ext cx="166915" cy="161528"/>
                        </a:xfrm>
                        <a:prstGeom prst="wedgeRectCallout">
                          <a:avLst>
                            <a:gd name="adj1" fmla="val 18461"/>
                            <a:gd name="adj2" fmla="val 62439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60,9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19" name="Rechteckige Legende 583">
                          <a:extLst>
                            <a:ext uri="{FF2B5EF4-FFF2-40B4-BE49-F238E27FC236}">
                              <a16:creationId xmlns:a16="http://schemas.microsoft.com/office/drawing/2014/main" xmlns="" id="{EE6E625D-91E4-4177-8E63-5F8F9925C864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3443954" y="5987168"/>
                          <a:ext cx="255230" cy="146821"/>
                        </a:xfrm>
                        <a:prstGeom prst="wedgeRectCallout">
                          <a:avLst>
                            <a:gd name="adj1" fmla="val -24203"/>
                            <a:gd name="adj2" fmla="val -10394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343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0" name="Rechteckige Legende 583">
                          <a:extLst>
                            <a:ext uri="{FF2B5EF4-FFF2-40B4-BE49-F238E27FC236}">
                              <a16:creationId xmlns:a16="http://schemas.microsoft.com/office/drawing/2014/main" xmlns="" id="{673BD2BA-C321-4CA9-AB6E-C679621875ED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2010149" y="4387764"/>
                          <a:ext cx="214634" cy="192554"/>
                        </a:xfrm>
                        <a:prstGeom prst="wedgeRectCallout">
                          <a:avLst>
                            <a:gd name="adj1" fmla="val -8360"/>
                            <a:gd name="adj2" fmla="val 82461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419,1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1" name="Rechteckige Legende 583">
                          <a:extLst>
                            <a:ext uri="{FF2B5EF4-FFF2-40B4-BE49-F238E27FC236}">
                              <a16:creationId xmlns:a16="http://schemas.microsoft.com/office/drawing/2014/main" xmlns="" id="{17FB4E79-5F47-48DD-923F-0C3AF4512F74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2474910" y="4588435"/>
                          <a:ext cx="233468" cy="168775"/>
                        </a:xfrm>
                        <a:prstGeom prst="wedgeRectCallout">
                          <a:avLst>
                            <a:gd name="adj1" fmla="val -8149"/>
                            <a:gd name="adj2" fmla="val -77821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173,9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107" name="Rechteckige Legende 583">
                        <a:extLst>
                          <a:ext uri="{FF2B5EF4-FFF2-40B4-BE49-F238E27FC236}">
                            <a16:creationId xmlns:a16="http://schemas.microsoft.com/office/drawing/2014/main" xmlns="" id="{595D6838-9513-4FA5-9900-967A22AB4B86}"/>
                          </a:ext>
                        </a:extLst>
                      </p:cNvPr>
                      <p:cNvSpPr/>
                      <p:nvPr/>
                    </p:nvSpPr>
                    <p:spPr bwMode="gray">
                      <a:xfrm>
                        <a:off x="500743" y="6998072"/>
                        <a:ext cx="308552" cy="270147"/>
                      </a:xfrm>
                      <a:prstGeom prst="wedgeRectCallout">
                        <a:avLst>
                          <a:gd name="adj1" fmla="val 60088"/>
                          <a:gd name="adj2" fmla="val -111911"/>
                        </a:avLst>
                      </a:prstGeom>
                      <a:solidFill>
                        <a:srgbClr val="FFFFFF"/>
                      </a:solidFill>
                      <a:ln w="19050">
                        <a:noFill/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cs typeface="Arial" panose="020B0604020202020204" pitchFamily="34" charset="0"/>
                          </a:rPr>
                          <a:t>214</a:t>
                        </a:r>
                        <a:endParaRPr lang="de-DE" sz="900" b="1" dirty="0"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08" name="Rechteckige Legende 583">
                        <a:extLst>
                          <a:ext uri="{FF2B5EF4-FFF2-40B4-BE49-F238E27FC236}">
                            <a16:creationId xmlns:a16="http://schemas.microsoft.com/office/drawing/2014/main" xmlns="" id="{4666E7BC-600A-490F-9B9F-A9F7B23844FB}"/>
                          </a:ext>
                        </a:extLst>
                      </p:cNvPr>
                      <p:cNvSpPr/>
                      <p:nvPr/>
                    </p:nvSpPr>
                    <p:spPr bwMode="gray">
                      <a:xfrm>
                        <a:off x="687542" y="5897996"/>
                        <a:ext cx="333138" cy="185353"/>
                      </a:xfrm>
                      <a:prstGeom prst="wedgeRectCallout">
                        <a:avLst>
                          <a:gd name="adj1" fmla="val -72085"/>
                          <a:gd name="adj2" fmla="val 40334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62,9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09" name="Rechteckige Legende 583">
                        <a:extLst>
                          <a:ext uri="{FF2B5EF4-FFF2-40B4-BE49-F238E27FC236}">
                            <a16:creationId xmlns:a16="http://schemas.microsoft.com/office/drawing/2014/main" xmlns="" id="{BBFE4642-A8A9-48C1-AA53-68565E839BF7}"/>
                          </a:ext>
                        </a:extLst>
                      </p:cNvPr>
                      <p:cNvSpPr/>
                      <p:nvPr/>
                    </p:nvSpPr>
                    <p:spPr bwMode="gray">
                      <a:xfrm>
                        <a:off x="-2010505" y="6644234"/>
                        <a:ext cx="276125" cy="179839"/>
                      </a:xfrm>
                      <a:prstGeom prst="wedgeRectCallout">
                        <a:avLst>
                          <a:gd name="adj1" fmla="val -36789"/>
                          <a:gd name="adj2" fmla="val 83429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40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  <p:sp>
                  <p:nvSpPr>
                    <p:cNvPr id="103" name="Text Box 23">
                      <a:extLst>
                        <a:ext uri="{FF2B5EF4-FFF2-40B4-BE49-F238E27FC236}">
                          <a16:creationId xmlns:a16="http://schemas.microsoft.com/office/drawing/2014/main" xmlns="" id="{B308E1D3-F920-4BC3-9C3F-135051BF0927}"/>
                        </a:ext>
                      </a:extLst>
                    </p:cNvPr>
                    <p:cNvSpPr txBox="1">
                      <a:spLocks noChangeArrowheads="1"/>
                    </p:cNvSpPr>
                    <p:nvPr>
                      <p:custDataLst>
                        <p:tags r:id="rId2"/>
                      </p:custDataLst>
                    </p:nvPr>
                  </p:nvSpPr>
                  <p:spPr bwMode="auto">
                    <a:xfrm>
                      <a:off x="900408" y="6866545"/>
                      <a:ext cx="609735" cy="18902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en-US" sz="900" b="1" u="sng" dirty="0" err="1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Nur</a:t>
                      </a:r>
                      <a:r>
                        <a:rPr lang="en-US" sz="900" b="1" u="sng" dirty="0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-Sultan</a:t>
                      </a:r>
                      <a:endParaRPr lang="en-US" sz="900" u="sng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4" name="Text Box 23">
                      <a:extLst>
                        <a:ext uri="{FF2B5EF4-FFF2-40B4-BE49-F238E27FC236}">
                          <a16:creationId xmlns:a16="http://schemas.microsoft.com/office/drawing/2014/main" xmlns="" id="{8F31BB96-E7ED-4B34-9590-AEE18975B717}"/>
                        </a:ext>
                      </a:extLst>
                    </p:cNvPr>
                    <p:cNvSpPr txBox="1">
                      <a:spLocks noChangeArrowheads="1"/>
                    </p:cNvSpPr>
                    <p:nvPr>
                      <p:custDataLst>
                        <p:tags r:id="rId3"/>
                      </p:custDataLst>
                    </p:nvPr>
                  </p:nvSpPr>
                  <p:spPr bwMode="auto">
                    <a:xfrm>
                      <a:off x="1586518" y="8207953"/>
                      <a:ext cx="424606" cy="18902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en-US" sz="900" b="1" u="sng" dirty="0" smtClean="0">
                          <a:solidFill>
                            <a:prstClr val="black"/>
                          </a:solidFill>
                          <a:latin typeface="+mn-lt"/>
                          <a:cs typeface="Arial" panose="020B0604020202020204" pitchFamily="34" charset="0"/>
                        </a:rPr>
                        <a:t>Almaty</a:t>
                      </a:r>
                      <a:endParaRPr lang="en-US" sz="800" u="sng" dirty="0">
                        <a:solidFill>
                          <a:srgbClr val="E7E6E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5" name="Rechteckige Legende 583">
                      <a:extLst>
                        <a:ext uri="{FF2B5EF4-FFF2-40B4-BE49-F238E27FC236}">
                          <a16:creationId xmlns:a16="http://schemas.microsoft.com/office/drawing/2014/main" xmlns="" id="{35B058AE-FF78-463B-9A8B-673C31D4A112}"/>
                        </a:ext>
                      </a:extLst>
                    </p:cNvPr>
                    <p:cNvSpPr/>
                    <p:nvPr/>
                  </p:nvSpPr>
                  <p:spPr bwMode="gray">
                    <a:xfrm>
                      <a:off x="2239114" y="7995910"/>
                      <a:ext cx="351149" cy="235703"/>
                    </a:xfrm>
                    <a:prstGeom prst="wedgeRectCallout">
                      <a:avLst>
                        <a:gd name="adj1" fmla="val -62967"/>
                        <a:gd name="adj2" fmla="val -30861"/>
                      </a:avLst>
                    </a:prstGeom>
                    <a:solidFill>
                      <a:srgbClr val="FFFFFF"/>
                    </a:solidFill>
                    <a:ln w="19050">
                      <a:noFill/>
                      <a:round/>
                      <a:headEnd/>
                      <a:tailEnd/>
                    </a:ln>
                    <a:effectLst>
                      <a:outerShdw blurRad="50800" dist="12700" dir="2700000" algn="tl" rotWithShape="0">
                        <a:prstClr val="black">
                          <a:alpha val="30000"/>
                        </a:prstClr>
                      </a:outerShdw>
                    </a:effectLst>
                  </p:spPr>
                  <p:txBody>
                    <a:bodyPr lIns="0" rIns="0" anchor="ctr"/>
                    <a:lstStyle/>
                    <a:p>
                      <a:pPr algn="ctr" defTabSz="457200">
                        <a:defRPr/>
                      </a:pPr>
                      <a:r>
                        <a:rPr lang="kk-KZ" sz="900" b="1" dirty="0">
                          <a:cs typeface="Arial" panose="020B0604020202020204" pitchFamily="34" charset="0"/>
                        </a:rPr>
                        <a:t>65,3</a:t>
                      </a:r>
                      <a:endParaRPr lang="de-DE" sz="900" b="1" dirty="0"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98" name="Rechteckige Legende 583">
                    <a:extLst>
                      <a:ext uri="{FF2B5EF4-FFF2-40B4-BE49-F238E27FC236}">
                        <a16:creationId xmlns:a16="http://schemas.microsoft.com/office/drawing/2014/main" xmlns="" id="{BC54F633-3522-4433-864A-60871C79D4B4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12624" y="8686394"/>
                    <a:ext cx="295178" cy="209491"/>
                  </a:xfrm>
                  <a:prstGeom prst="wedgeRectCallout">
                    <a:avLst>
                      <a:gd name="adj1" fmla="val -22310"/>
                      <a:gd name="adj2" fmla="val -6340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24,8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9" name="Rechteckige Legende 583">
                    <a:extLst>
                      <a:ext uri="{FF2B5EF4-FFF2-40B4-BE49-F238E27FC236}">
                        <a16:creationId xmlns:a16="http://schemas.microsoft.com/office/drawing/2014/main" xmlns="" id="{71F7E40D-BBDE-48B0-A164-6E09E4B61102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130179" y="8579503"/>
                    <a:ext cx="306939" cy="277025"/>
                  </a:xfrm>
                  <a:prstGeom prst="wedgeRectCallout">
                    <a:avLst>
                      <a:gd name="adj1" fmla="val -29760"/>
                      <a:gd name="adj2" fmla="val -72474"/>
                    </a:avLst>
                  </a:prstGeom>
                  <a:solidFill>
                    <a:srgbClr val="FFFFFF"/>
                  </a:solidFill>
                  <a:ln w="19050">
                    <a:noFill/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10,8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0" name="Rechteckige Legende 583">
                    <a:extLst>
                      <a:ext uri="{FF2B5EF4-FFF2-40B4-BE49-F238E27FC236}">
                        <a16:creationId xmlns:a16="http://schemas.microsoft.com/office/drawing/2014/main" xmlns="" id="{7050AA22-6868-4280-847E-629325F6250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557108" y="7797814"/>
                    <a:ext cx="276040" cy="226042"/>
                  </a:xfrm>
                  <a:prstGeom prst="wedgeRectCallout">
                    <a:avLst>
                      <a:gd name="adj1" fmla="val -6109"/>
                      <a:gd name="adj2" fmla="val 9083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15,4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1" name="Rechteckige Legende 583">
                    <a:extLst>
                      <a:ext uri="{FF2B5EF4-FFF2-40B4-BE49-F238E27FC236}">
                        <a16:creationId xmlns:a16="http://schemas.microsoft.com/office/drawing/2014/main" xmlns="" id="{BE7F5186-21E3-4688-A520-5D333B563398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-1916827" y="8616896"/>
                    <a:ext cx="304380" cy="219705"/>
                  </a:xfrm>
                  <a:prstGeom prst="wedgeRectCallout">
                    <a:avLst>
                      <a:gd name="adj1" fmla="val -13731"/>
                      <a:gd name="adj2" fmla="val -83657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35,3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94" name="Овал 93">
                  <a:extLst>
                    <a:ext uri="{FF2B5EF4-FFF2-40B4-BE49-F238E27FC236}">
                      <a16:creationId xmlns:a16="http://schemas.microsoft.com/office/drawing/2014/main" xmlns="" id="{BD537280-1D4E-492B-9303-D6291EAABAFF}"/>
                    </a:ext>
                  </a:extLst>
                </p:cNvPr>
                <p:cNvSpPr/>
                <p:nvPr/>
              </p:nvSpPr>
              <p:spPr>
                <a:xfrm>
                  <a:off x="839115" y="6761110"/>
                  <a:ext cx="94523" cy="87494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Овал 94">
                  <a:extLst>
                    <a:ext uri="{FF2B5EF4-FFF2-40B4-BE49-F238E27FC236}">
                      <a16:creationId xmlns:a16="http://schemas.microsoft.com/office/drawing/2014/main" xmlns="" id="{0C5C3743-A8B0-483C-93D5-5475101B6C02}"/>
                    </a:ext>
                  </a:extLst>
                </p:cNvPr>
                <p:cNvSpPr/>
                <p:nvPr/>
              </p:nvSpPr>
              <p:spPr>
                <a:xfrm>
                  <a:off x="1729809" y="8404817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6" name="Овал 95">
                  <a:extLst>
                    <a:ext uri="{FF2B5EF4-FFF2-40B4-BE49-F238E27FC236}">
                      <a16:creationId xmlns:a16="http://schemas.microsoft.com/office/drawing/2014/main" xmlns="" id="{70001C6B-7789-4264-9FB0-0D974D16026F}"/>
                    </a:ext>
                  </a:extLst>
                </p:cNvPr>
                <p:cNvSpPr/>
                <p:nvPr/>
              </p:nvSpPr>
              <p:spPr>
                <a:xfrm>
                  <a:off x="599677" y="8972134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92" name="Rechteckige Legende 583">
                <a:extLst>
                  <a:ext uri="{FF2B5EF4-FFF2-40B4-BE49-F238E27FC236}">
                    <a16:creationId xmlns:a16="http://schemas.microsoft.com/office/drawing/2014/main" xmlns="" id="{FCBA0570-64FC-49BC-BBC9-5F4EF29101F8}"/>
                  </a:ext>
                </a:extLst>
              </p:cNvPr>
              <p:cNvSpPr/>
              <p:nvPr/>
            </p:nvSpPr>
            <p:spPr bwMode="gray">
              <a:xfrm>
                <a:off x="1281985" y="7641586"/>
                <a:ext cx="242808" cy="217364"/>
              </a:xfrm>
              <a:prstGeom prst="wedgeRectCallout">
                <a:avLst>
                  <a:gd name="adj1" fmla="val -16380"/>
                  <a:gd name="adj2" fmla="val -84997"/>
                </a:avLst>
              </a:prstGeom>
              <a:solidFill>
                <a:srgbClr val="FFFFFF"/>
              </a:solidFill>
              <a:ln w="19050">
                <a:noFill/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anchor="ctr"/>
              <a:lstStyle/>
              <a:p>
                <a:pPr algn="ctr" defTabSz="457200">
                  <a:defRPr/>
                </a:pPr>
                <a:r>
                  <a:rPr lang="kk-KZ" sz="900" b="1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39,9</a:t>
                </a:r>
                <a:endParaRPr lang="de-DE" sz="9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9" name="Text Box 23">
              <a:extLst>
                <a:ext uri="{FF2B5EF4-FFF2-40B4-BE49-F238E27FC236}">
                  <a16:creationId xmlns:a16="http://schemas.microsoft.com/office/drawing/2014/main" xmlns="" id="{D7F74AF2-95E2-482D-BFF6-744A1C5066B8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480886" y="9005805"/>
              <a:ext cx="493893" cy="1426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457200">
                <a:defRPr/>
              </a:pPr>
              <a:r>
                <a:rPr lang="en-US" sz="800" b="1" u="sng" dirty="0" err="1" smtClean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Shymkent</a:t>
              </a:r>
              <a:endParaRPr lang="en-US" sz="800" u="sng" dirty="0">
                <a:solidFill>
                  <a:srgbClr val="E7E6E6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0" name="Rechteckige Legende 583">
              <a:extLst>
                <a:ext uri="{FF2B5EF4-FFF2-40B4-BE49-F238E27FC236}">
                  <a16:creationId xmlns:a16="http://schemas.microsoft.com/office/drawing/2014/main" xmlns="" id="{433A2141-7DC4-40DB-BE55-1C0D01BB0356}"/>
                </a:ext>
              </a:extLst>
            </p:cNvPr>
            <p:cNvSpPr/>
            <p:nvPr/>
          </p:nvSpPr>
          <p:spPr bwMode="gray">
            <a:xfrm>
              <a:off x="4068347" y="9059602"/>
              <a:ext cx="314509" cy="199062"/>
            </a:xfrm>
            <a:prstGeom prst="wedgeRectCallout">
              <a:avLst>
                <a:gd name="adj1" fmla="val -68275"/>
                <a:gd name="adj2" fmla="val -27320"/>
              </a:avLst>
            </a:prstGeom>
            <a:solidFill>
              <a:srgbClr val="FFFFFF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>
              <a:outerShdw blurRad="50800" dist="12700" dir="2700000" algn="tl" rotWithShape="0">
                <a:prstClr val="black">
                  <a:alpha val="30000"/>
                </a:prstClr>
              </a:outerShdw>
            </a:effectLst>
          </p:spPr>
          <p:txBody>
            <a:bodyPr lIns="0" rIns="0" anchor="ctr"/>
            <a:lstStyle/>
            <a:p>
              <a:pPr algn="ctr" defTabSz="457200">
                <a:defRPr/>
              </a:pPr>
              <a:r>
                <a:rPr lang="kk-KZ" sz="900" b="1" dirty="0">
                  <a:cs typeface="Arial" panose="020B0604020202020204" pitchFamily="34" charset="0"/>
                </a:rPr>
                <a:t>50,4</a:t>
              </a:r>
              <a:endParaRPr lang="de-DE" sz="900" b="1" dirty="0">
                <a:cs typeface="Arial" panose="020B0604020202020204" pitchFamily="34" charset="0"/>
              </a:endParaRPr>
            </a:p>
          </p:txBody>
        </p:sp>
      </p:grpSp>
      <p:sp>
        <p:nvSpPr>
          <p:cNvPr id="152" name="TextBox 14">
            <a:extLst>
              <a:ext uri="{FF2B5EF4-FFF2-40B4-BE49-F238E27FC236}">
                <a16:creationId xmlns:a16="http://schemas.microsoft.com/office/drawing/2014/main" xmlns="" id="{7BF67531-CA2E-49B9-95D1-6DFA75215CAA}"/>
              </a:ext>
            </a:extLst>
          </p:cNvPr>
          <p:cNvSpPr txBox="1"/>
          <p:nvPr/>
        </p:nvSpPr>
        <p:spPr>
          <a:xfrm>
            <a:off x="379407" y="5824697"/>
            <a:ext cx="6334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</a:rPr>
              <a:t>Production volume by regions for January-November 2021, billion </a:t>
            </a:r>
            <a:r>
              <a:rPr lang="en-US" sz="1000" dirty="0" err="1">
                <a:solidFill>
                  <a:schemeClr val="bg1"/>
                </a:solidFill>
              </a:rPr>
              <a:t>tenge</a:t>
            </a:r>
            <a:endParaRPr lang="de-DE" altLang="ru-RU" sz="1000" b="1" cap="all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DA75CF00-BBD2-4D9C-A98C-5C71FC51AFD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07" y="4127244"/>
            <a:ext cx="556984" cy="41773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3D38750-BB88-4C33-8FFA-7AB1C9FC3AA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5532" y="4228483"/>
            <a:ext cx="552014" cy="41401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962B099-416C-4F3C-A584-49C933965D4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286" y="4292516"/>
            <a:ext cx="557013" cy="417760"/>
          </a:xfrm>
          <a:prstGeom prst="rect">
            <a:avLst/>
          </a:prstGeom>
        </p:spPr>
      </p:pic>
      <p:pic>
        <p:nvPicPr>
          <p:cNvPr id="153" name="Рисунок 152">
            <a:extLst>
              <a:ext uri="{FF2B5EF4-FFF2-40B4-BE49-F238E27FC236}">
                <a16:creationId xmlns:a16="http://schemas.microsoft.com/office/drawing/2014/main" xmlns="" id="{A315A831-9D46-45A1-9BEA-EA1CFD9DC1B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539" y="4149486"/>
            <a:ext cx="556984" cy="41773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D96A61D8-B168-4F42-BCAB-BC98CE95D1C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588" y="4293641"/>
            <a:ext cx="556983" cy="41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912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fJZgLSVE6X4v0PG3cy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0aTkfuI0SJ09XDltMI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aERBKqW0KOMWKJRG_s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3Ohp6xo0ON7g.eBq2r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twNHxjfEiPXtpJrmcB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N2anMDcUaX26ucTva9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Uszkwqp0mMzioPJQ_v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F2Tn_rIU6dtBShFvmJ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2046</TotalTime>
  <Words>143</Words>
  <Application>Microsoft Office PowerPoint</Application>
  <PresentationFormat>Экран (4:3)</PresentationFormat>
  <Paragraphs>65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147</cp:revision>
  <dcterms:created xsi:type="dcterms:W3CDTF">2020-04-15T04:44:30Z</dcterms:created>
  <dcterms:modified xsi:type="dcterms:W3CDTF">2022-02-08T17:03:46Z</dcterms:modified>
</cp:coreProperties>
</file>